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66" r:id="rId4"/>
  </p:sldMasterIdLst>
  <p:notesMasterIdLst>
    <p:notesMasterId r:id="rId7"/>
  </p:notesMasterIdLst>
  <p:sldIdLst>
    <p:sldId id="275" r:id="rId5"/>
    <p:sldId id="280" r:id="rId6"/>
  </p:sldIdLst>
  <p:sldSz cx="7772400" cy="10058400"/>
  <p:notesSz cx="7772400" cy="1005840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2" pos="2160">
          <p15:clr>
            <a:srgbClr val="A4A3A4"/>
          </p15:clr>
        </p15:guide>
        <p15:guide id="3" orient="horz" pos="3168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FEA9A12-493E-BFAD-8EE9-5857FFC5382E}" name="Brill, Amanda {PEP}" initials="B{" userId="S::amanda.brill@pepsico.com::2bd049c7-bd17-4cb1-9caf-bed092b91cf4" providerId="AD"/>
  <p188:author id="{1EFE9473-465F-BA6A-A4FF-D06828FDAF87}" name="Morales, Erika {PEP}" initials="EM" userId="S::Erika.Morales@pepsico.com::279fd254-57cd-4f63-8e74-9f01550fef61" providerId="AD"/>
  <p188:author id="{C2DCFA90-92A0-3057-5C1A-F95A440B9440}" name="Lark, Vanessa {PEP}" initials="L{" userId="S::vanessa.lark@pepsico.com::a5909ae6-eb78-4812-ae7b-484d3fc6f1b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FBE5D5"/>
    <a:srgbClr val="DA010F"/>
    <a:srgbClr val="A6E3FC"/>
    <a:srgbClr val="06539E"/>
    <a:srgbClr val="08A5E4"/>
    <a:srgbClr val="F7CCAB"/>
    <a:srgbClr val="FDF2EA"/>
    <a:srgbClr val="0052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176845-1865-4250-BF80-0AE9FEB3995D}" v="33" dt="2024-12-10T20:56:05.144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4740" y="84"/>
      </p:cViewPr>
      <p:guideLst>
        <p:guide pos="2160"/>
        <p:guide orient="horz" pos="31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402138" y="0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4B62E8-7C1C-5945-8BDE-2498841DC1CA}" type="datetimeFigureOut">
              <a:rPr lang="en-US" smtClean="0"/>
              <a:t>1/2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74925" y="1257300"/>
            <a:ext cx="2622550" cy="3394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77875" y="4840288"/>
            <a:ext cx="6216650" cy="39608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53575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402138" y="9553575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118C09-36A7-9B4B-BBB7-F24354867F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7863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18C09-36A7-9B4B-BBB7-F24354867FDA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77515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18C09-36A7-9B4B-BBB7-F24354867FDA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36476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582930" y="3118104"/>
            <a:ext cx="6606540" cy="21122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1" i="0">
                <a:solidFill>
                  <a:srgbClr val="00519B"/>
                </a:solidFill>
                <a:latin typeface="ZillaSlab-SemiBold"/>
                <a:cs typeface="ZillaSlab-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165860" y="5632704"/>
            <a:ext cx="5440680" cy="25146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6BC2AF-ED23-458F-9FC8-CAB9C1281CAE}" type="datetime1">
              <a:rPr lang="en-US" smtClean="0"/>
              <a:t>1/21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873814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00519B"/>
                </a:solidFill>
                <a:latin typeface="ZillaSlab-SemiBold"/>
                <a:cs typeface="ZillaSlab-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28E0F-7631-40E6-8294-E8CB970FE878}" type="datetime1">
              <a:rPr lang="en-US" smtClean="0"/>
              <a:t>1/21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49819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68">
          <p15:clr>
            <a:srgbClr val="FBAE40"/>
          </p15:clr>
        </p15:guide>
        <p15:guide id="2" pos="244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00519B"/>
                </a:solidFill>
                <a:latin typeface="ZillaSlab-SemiBold"/>
                <a:cs typeface="ZillaSlab-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388620" y="2313432"/>
            <a:ext cx="3380994" cy="66385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002786" y="2313432"/>
            <a:ext cx="3380994" cy="66385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97A664-1C6C-4369-A89D-D7E8A68555FB}" type="datetime1">
              <a:rPr lang="en-US" smtClean="0"/>
              <a:t>1/21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268160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00519B"/>
                </a:solidFill>
                <a:latin typeface="ZillaSlab-SemiBold"/>
                <a:cs typeface="ZillaSlab-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42C5A3-8C39-4C6A-B468-CC58D13E2A26}" type="datetime1">
              <a:rPr lang="en-US" smtClean="0"/>
              <a:t>1/2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66256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31642E-BA12-43EF-9C1E-6D0207A37E77}" type="datetime1">
              <a:rPr lang="en-US" smtClean="0"/>
              <a:t>1/21/2025</a:t>
            </a:fld>
            <a:endParaRPr lang="en-US"/>
          </a:p>
        </p:txBody>
      </p:sp>
      <p:sp>
        <p:nvSpPr>
          <p:cNvPr id="5" name="Holder 4">
            <a:extLst>
              <a:ext uri="{FF2B5EF4-FFF2-40B4-BE49-F238E27FC236}">
                <a16:creationId xmlns:a16="http://schemas.microsoft.com/office/drawing/2014/main" id="{FB8A8CFB-E2A0-478C-A3D5-9532C8E419E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7391400" y="9903042"/>
            <a:ext cx="304800" cy="138499"/>
          </a:xfrm>
        </p:spPr>
        <p:txBody>
          <a:bodyPr lIns="0" tIns="0" rIns="0" bIns="0"/>
          <a:lstStyle>
            <a:lvl1pPr algn="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8271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B7D093-7F1A-A021-D514-02F09698E6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01126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B7D093-7F1A-A021-D514-02F09698E6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44500" y="368751"/>
            <a:ext cx="5255260" cy="4521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1" i="0">
                <a:solidFill>
                  <a:srgbClr val="00519B"/>
                </a:solidFill>
                <a:latin typeface="ZillaSlab-SemiBold"/>
                <a:cs typeface="ZillaSlab-SemiBold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8620" y="2313432"/>
            <a:ext cx="6995160" cy="66385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642616" y="9354312"/>
            <a:ext cx="2487168" cy="5029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388620" y="9354312"/>
            <a:ext cx="1787652" cy="5029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C66601-6BD3-4240-B9C2-F117920CBA7D}" type="datetime1">
              <a:rPr lang="en-US" smtClean="0"/>
              <a:t>1/21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596128" y="9354312"/>
            <a:ext cx="1787652" cy="5029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5BF1168-46F7-A0D0-81DA-D75BFF817B22}"/>
              </a:ext>
            </a:extLst>
          </p:cNvPr>
          <p:cNvSpPr/>
          <p:nvPr userDrawn="1"/>
        </p:nvSpPr>
        <p:spPr>
          <a:xfrm>
            <a:off x="7924800" y="0"/>
            <a:ext cx="700087" cy="700087"/>
          </a:xfrm>
          <a:prstGeom prst="rect">
            <a:avLst/>
          </a:prstGeom>
          <a:solidFill>
            <a:srgbClr val="06539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BAFB312-89BC-F7DC-BCE0-C9E557F9D295}"/>
              </a:ext>
            </a:extLst>
          </p:cNvPr>
          <p:cNvSpPr/>
          <p:nvPr userDrawn="1"/>
        </p:nvSpPr>
        <p:spPr>
          <a:xfrm>
            <a:off x="7924800" y="901700"/>
            <a:ext cx="700087" cy="700087"/>
          </a:xfrm>
          <a:prstGeom prst="rect">
            <a:avLst/>
          </a:prstGeom>
          <a:solidFill>
            <a:srgbClr val="08A5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ABB3410-99A9-6F6D-07BE-7485CC68492D}"/>
              </a:ext>
            </a:extLst>
          </p:cNvPr>
          <p:cNvSpPr/>
          <p:nvPr userDrawn="1"/>
        </p:nvSpPr>
        <p:spPr>
          <a:xfrm>
            <a:off x="7924800" y="1803400"/>
            <a:ext cx="700087" cy="700087"/>
          </a:xfrm>
          <a:prstGeom prst="rect">
            <a:avLst/>
          </a:prstGeom>
          <a:solidFill>
            <a:srgbClr val="002F9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A541D319-EC87-78BC-9E42-350A07A7C76D}"/>
              </a:ext>
            </a:extLst>
          </p:cNvPr>
          <p:cNvSpPr/>
          <p:nvPr userDrawn="1"/>
        </p:nvSpPr>
        <p:spPr>
          <a:xfrm>
            <a:off x="7924800" y="2705100"/>
            <a:ext cx="700087" cy="700087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8749DCC-1780-627C-5B41-346D556BF968}"/>
              </a:ext>
            </a:extLst>
          </p:cNvPr>
          <p:cNvSpPr/>
          <p:nvPr userDrawn="1"/>
        </p:nvSpPr>
        <p:spPr>
          <a:xfrm>
            <a:off x="7924800" y="3606800"/>
            <a:ext cx="700087" cy="7000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751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216">
          <p15:clr>
            <a:srgbClr val="F26B43"/>
          </p15:clr>
        </p15:guide>
        <p15:guide id="2" pos="144">
          <p15:clr>
            <a:srgbClr val="F26B43"/>
          </p15:clr>
        </p15:guide>
        <p15:guide id="3" pos="4752">
          <p15:clr>
            <a:srgbClr val="F26B43"/>
          </p15:clr>
        </p15:guide>
        <p15:guide id="4" orient="horz" pos="96">
          <p15:clr>
            <a:srgbClr val="F26B43"/>
          </p15:clr>
        </p15:guide>
        <p15:guide id="5" orient="horz" pos="4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18" Type="http://schemas.openxmlformats.org/officeDocument/2006/relationships/hyperlink" Target="https://www.pepsicoschoolsource.com/deliciousdestinations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17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12.png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19" Type="http://schemas.openxmlformats.org/officeDocument/2006/relationships/hyperlink" Target="http://www.pepsicoschoolsource.com/" TargetMode="External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19.png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11" Type="http://schemas.openxmlformats.org/officeDocument/2006/relationships/image" Target="../media/image14.png"/><Relationship Id="rId5" Type="http://schemas.openxmlformats.org/officeDocument/2006/relationships/image" Target="../media/image1.emf"/><Relationship Id="rId15" Type="http://schemas.openxmlformats.org/officeDocument/2006/relationships/image" Target="../media/image18.png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png"/><Relationship Id="rId1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7" name="think-cell data - do not delete" hidden="1">
            <a:extLst>
              <a:ext uri="{FF2B5EF4-FFF2-40B4-BE49-F238E27FC236}">
                <a16:creationId xmlns:a16="http://schemas.microsoft.com/office/drawing/2014/main" id="{8944A60B-E096-CB8F-1A08-FF95D68E49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7016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4A60B-E096-CB8F-1A08-FF95D68E49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61E12562-70DD-2D2B-E169-B77AB9D12683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73" r="103" b="30673"/>
          <a:stretch/>
        </p:blipFill>
        <p:spPr>
          <a:xfrm>
            <a:off x="0" y="0"/>
            <a:ext cx="7772400" cy="172218"/>
          </a:xfrm>
          <a:custGeom>
            <a:avLst/>
            <a:gdLst>
              <a:gd name="connsiteX0" fmla="*/ 0 w 7772400"/>
              <a:gd name="connsiteY0" fmla="*/ 0 h 172218"/>
              <a:gd name="connsiteX1" fmla="*/ 7772400 w 7772400"/>
              <a:gd name="connsiteY1" fmla="*/ 0 h 172218"/>
              <a:gd name="connsiteX2" fmla="*/ 7772400 w 7772400"/>
              <a:gd name="connsiteY2" fmla="*/ 172218 h 172218"/>
              <a:gd name="connsiteX3" fmla="*/ 0 w 7772400"/>
              <a:gd name="connsiteY3" fmla="*/ 172218 h 172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72400" h="172218">
                <a:moveTo>
                  <a:pt x="0" y="0"/>
                </a:moveTo>
                <a:lnTo>
                  <a:pt x="7772400" y="0"/>
                </a:lnTo>
                <a:lnTo>
                  <a:pt x="7772400" y="172218"/>
                </a:lnTo>
                <a:lnTo>
                  <a:pt x="0" y="172218"/>
                </a:lnTo>
                <a:close/>
              </a:path>
            </a:pathLst>
          </a:custGeom>
        </p:spPr>
      </p:pic>
      <p:graphicFrame>
        <p:nvGraphicFramePr>
          <p:cNvPr id="98" name="Table 6">
            <a:extLst>
              <a:ext uri="{FF2B5EF4-FFF2-40B4-BE49-F238E27FC236}">
                <a16:creationId xmlns:a16="http://schemas.microsoft.com/office/drawing/2014/main" id="{9865BB38-DA3F-09A1-1887-29C2E02F83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3663757"/>
              </p:ext>
            </p:extLst>
          </p:nvPr>
        </p:nvGraphicFramePr>
        <p:xfrm>
          <a:off x="1" y="4715685"/>
          <a:ext cx="7772399" cy="5165101"/>
        </p:xfrm>
        <a:graphic>
          <a:graphicData uri="http://schemas.openxmlformats.org/drawingml/2006/table">
            <a:tbl>
              <a:tblPr/>
              <a:tblGrid>
                <a:gridCol w="3055243">
                  <a:extLst>
                    <a:ext uri="{9D8B030D-6E8A-4147-A177-3AD203B41FA5}">
                      <a16:colId xmlns:a16="http://schemas.microsoft.com/office/drawing/2014/main" val="2286909278"/>
                    </a:ext>
                  </a:extLst>
                </a:gridCol>
                <a:gridCol w="737939">
                  <a:extLst>
                    <a:ext uri="{9D8B030D-6E8A-4147-A177-3AD203B41FA5}">
                      <a16:colId xmlns:a16="http://schemas.microsoft.com/office/drawing/2014/main" val="3575990395"/>
                    </a:ext>
                  </a:extLst>
                </a:gridCol>
                <a:gridCol w="737939">
                  <a:extLst>
                    <a:ext uri="{9D8B030D-6E8A-4147-A177-3AD203B41FA5}">
                      <a16:colId xmlns:a16="http://schemas.microsoft.com/office/drawing/2014/main" val="1108978038"/>
                    </a:ext>
                  </a:extLst>
                </a:gridCol>
                <a:gridCol w="1018414">
                  <a:extLst>
                    <a:ext uri="{9D8B030D-6E8A-4147-A177-3AD203B41FA5}">
                      <a16:colId xmlns:a16="http://schemas.microsoft.com/office/drawing/2014/main" val="2948457908"/>
                    </a:ext>
                  </a:extLst>
                </a:gridCol>
                <a:gridCol w="1203581">
                  <a:extLst>
                    <a:ext uri="{9D8B030D-6E8A-4147-A177-3AD203B41FA5}">
                      <a16:colId xmlns:a16="http://schemas.microsoft.com/office/drawing/2014/main" val="2772147080"/>
                    </a:ext>
                  </a:extLst>
                </a:gridCol>
                <a:gridCol w="1019283">
                  <a:extLst>
                    <a:ext uri="{9D8B030D-6E8A-4147-A177-3AD203B41FA5}">
                      <a16:colId xmlns:a16="http://schemas.microsoft.com/office/drawing/2014/main" val="688542143"/>
                    </a:ext>
                  </a:extLst>
                </a:gridCol>
              </a:tblGrid>
              <a:tr h="587837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Product Name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6539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Oz </a:t>
                      </a:r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Wt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6539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Case Pack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6539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Meal Component (per serving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6539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Case GTIN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6539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Distributor Code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653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584250"/>
                  </a:ext>
                </a:extLst>
              </a:tr>
              <a:tr h="274386">
                <a:tc gridSpan="6"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                     ON THE TRAY OR A LA CARTE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8A5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0553731"/>
                  </a:ext>
                </a:extLst>
              </a:tr>
              <a:tr h="399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Tostitos® Mild Mini Salsa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3.0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68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½ cup VEG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748513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9160890"/>
                  </a:ext>
                </a:extLst>
              </a:tr>
              <a:tr h="399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Baked Tostitos® Scoops Whole Grain Rich Tortilla Chips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875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.25 OEG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425377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8316489"/>
                  </a:ext>
                </a:extLst>
              </a:tr>
              <a:tr h="399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Baked Cheetos® Reduced Fat Whole Grain Rich Flamin’ Hot Snacks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875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0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.25 OEG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629843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2931783"/>
                  </a:ext>
                </a:extLst>
              </a:tr>
              <a:tr h="399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Baked Cheetos® Reduced Fat Whole Grain Rich Cheddar Cheese Snacks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875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0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.25 OEG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629331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9511809"/>
                  </a:ext>
                </a:extLst>
              </a:tr>
              <a:tr h="4023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Doritos® Reduced Fat Spicy Sweet Chili Flavored Tortilla Chips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.5 OEG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490931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2718532"/>
                  </a:ext>
                </a:extLst>
              </a:tr>
              <a:tr h="4023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Doritos® Reduced Fat Flamas Flavored Tortilla Chips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.5 OEG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628297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2286642"/>
                  </a:ext>
                </a:extLst>
              </a:tr>
              <a:tr h="399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Doritos® Reduced Fat Cool Ranch Flavored Tortilla Chips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.5 OEG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360968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9844611"/>
                  </a:ext>
                </a:extLst>
              </a:tr>
              <a:tr h="399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Doritos® Reduced Fat Nacho Cheese Flavored Tortilla Chips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.5 OEG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317481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1310930"/>
                  </a:ext>
                </a:extLst>
              </a:tr>
              <a:tr h="304186"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A LA CARTE ONLY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1173796"/>
                  </a:ext>
                </a:extLst>
              </a:tr>
              <a:tr h="399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Baked Lay’s® BBQ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875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320788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810885"/>
                  </a:ext>
                </a:extLst>
              </a:tr>
              <a:tr h="399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Baked Lay’s® Original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875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336253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851009"/>
                  </a:ext>
                </a:extLst>
              </a:tr>
            </a:tbl>
          </a:graphicData>
        </a:graphic>
      </p:graphicFrame>
      <p:pic>
        <p:nvPicPr>
          <p:cNvPr id="9" name="Picture 8" descr="A small container of salsa&#10;&#10;Description automatically generated">
            <a:extLst>
              <a:ext uri="{FF2B5EF4-FFF2-40B4-BE49-F238E27FC236}">
                <a16:creationId xmlns:a16="http://schemas.microsoft.com/office/drawing/2014/main" id="{F909F9B1-423B-3116-B85C-5ADB1234E7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5804" y="5614494"/>
            <a:ext cx="336600" cy="33389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AB831DD-1506-2B7D-D015-C838BE1059CD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9236" r="9236"/>
          <a:stretch/>
        </p:blipFill>
        <p:spPr>
          <a:xfrm>
            <a:off x="198020" y="6000498"/>
            <a:ext cx="292168" cy="358364"/>
          </a:xfrm>
          <a:prstGeom prst="rect">
            <a:avLst/>
          </a:prstGeom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id="{A3316113-0FFE-3DEE-A267-AED766365A0D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6145" y="7210992"/>
            <a:ext cx="335919" cy="335919"/>
          </a:xfrm>
          <a:prstGeom prst="rect">
            <a:avLst/>
          </a:prstGeom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id="{1396A21B-282E-9A81-CB81-83C8C4F520BC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8571" y="8415680"/>
            <a:ext cx="331066" cy="331066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B81868BA-90ED-037F-A43C-7ACB573444D6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6145" y="8004110"/>
            <a:ext cx="335919" cy="335919"/>
          </a:xfrm>
          <a:prstGeom prst="rect">
            <a:avLst/>
          </a:prstGeom>
        </p:spPr>
      </p:pic>
      <p:pic>
        <p:nvPicPr>
          <p:cNvPr id="119" name="Picture 118">
            <a:extLst>
              <a:ext uri="{FF2B5EF4-FFF2-40B4-BE49-F238E27FC236}">
                <a16:creationId xmlns:a16="http://schemas.microsoft.com/office/drawing/2014/main" id="{CA872613-5099-9E2B-EA2B-B75721D20306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6145" y="7612221"/>
            <a:ext cx="335919" cy="335919"/>
          </a:xfrm>
          <a:prstGeom prst="rect">
            <a:avLst/>
          </a:prstGeom>
        </p:spPr>
      </p:pic>
      <p:pic>
        <p:nvPicPr>
          <p:cNvPr id="121" name="Picture 120">
            <a:extLst>
              <a:ext uri="{FF2B5EF4-FFF2-40B4-BE49-F238E27FC236}">
                <a16:creationId xmlns:a16="http://schemas.microsoft.com/office/drawing/2014/main" id="{1102D21C-E423-A457-0945-0E82D8BA5093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1332" y="6414301"/>
            <a:ext cx="345545" cy="345545"/>
          </a:xfrm>
          <a:prstGeom prst="rect">
            <a:avLst/>
          </a:prstGeom>
        </p:spPr>
      </p:pic>
      <p:pic>
        <p:nvPicPr>
          <p:cNvPr id="123" name="Picture 122">
            <a:extLst>
              <a:ext uri="{FF2B5EF4-FFF2-40B4-BE49-F238E27FC236}">
                <a16:creationId xmlns:a16="http://schemas.microsoft.com/office/drawing/2014/main" id="{E2E82C78-6FE4-60F2-537A-A93F7DD6C411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63055" y="6809236"/>
            <a:ext cx="362098" cy="36209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01C0E01-0ADC-F97C-ECFD-3C87636C021B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l="8006" r="8006"/>
          <a:stretch/>
        </p:blipFill>
        <p:spPr>
          <a:xfrm>
            <a:off x="200264" y="9525832"/>
            <a:ext cx="287680" cy="34252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60ED16B-7007-7293-7C7B-F2AB53A7C33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62907" y="9097967"/>
            <a:ext cx="362394" cy="35999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70ED7C9-B27F-B830-376C-B3437AA257BD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73" r="103" b="30673"/>
          <a:stretch/>
        </p:blipFill>
        <p:spPr>
          <a:xfrm>
            <a:off x="-1" y="9886182"/>
            <a:ext cx="7772400" cy="172218"/>
          </a:xfrm>
          <a:custGeom>
            <a:avLst/>
            <a:gdLst>
              <a:gd name="connsiteX0" fmla="*/ 0 w 7772400"/>
              <a:gd name="connsiteY0" fmla="*/ 0 h 172218"/>
              <a:gd name="connsiteX1" fmla="*/ 7772400 w 7772400"/>
              <a:gd name="connsiteY1" fmla="*/ 0 h 172218"/>
              <a:gd name="connsiteX2" fmla="*/ 7772400 w 7772400"/>
              <a:gd name="connsiteY2" fmla="*/ 172218 h 172218"/>
              <a:gd name="connsiteX3" fmla="*/ 0 w 7772400"/>
              <a:gd name="connsiteY3" fmla="*/ 172218 h 172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72400" h="172218">
                <a:moveTo>
                  <a:pt x="0" y="0"/>
                </a:moveTo>
                <a:lnTo>
                  <a:pt x="7772400" y="0"/>
                </a:lnTo>
                <a:lnTo>
                  <a:pt x="7772400" y="172218"/>
                </a:lnTo>
                <a:lnTo>
                  <a:pt x="0" y="172218"/>
                </a:lnTo>
                <a:close/>
              </a:path>
            </a:pathLst>
          </a:cu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2F99FAA-08CE-AC5C-E7E7-E2AC834F9E92}"/>
              </a:ext>
            </a:extLst>
          </p:cNvPr>
          <p:cNvSpPr>
            <a:spLocks/>
          </p:cNvSpPr>
          <p:nvPr/>
        </p:nvSpPr>
        <p:spPr>
          <a:xfrm>
            <a:off x="-1" y="172218"/>
            <a:ext cx="7772400" cy="45380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F2CF62-1CCF-3AD9-EB4B-116415A3E73B}"/>
              </a:ext>
            </a:extLst>
          </p:cNvPr>
          <p:cNvSpPr>
            <a:spLocks/>
          </p:cNvSpPr>
          <p:nvPr/>
        </p:nvSpPr>
        <p:spPr>
          <a:xfrm>
            <a:off x="3643311" y="653805"/>
            <a:ext cx="4129088" cy="4056484"/>
          </a:xfrm>
          <a:prstGeom prst="rect">
            <a:avLst/>
          </a:prstGeom>
          <a:solidFill>
            <a:srgbClr val="FBE5D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305164E-D78B-372D-A825-9D5F58BD8142}"/>
              </a:ext>
            </a:extLst>
          </p:cNvPr>
          <p:cNvCxnSpPr>
            <a:cxnSpLocks/>
          </p:cNvCxnSpPr>
          <p:nvPr/>
        </p:nvCxnSpPr>
        <p:spPr>
          <a:xfrm flipH="1">
            <a:off x="3643311" y="653804"/>
            <a:ext cx="4129088" cy="0"/>
          </a:xfrm>
          <a:prstGeom prst="line">
            <a:avLst/>
          </a:prstGeom>
          <a:ln w="19050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6BE8E7A5-45FD-E073-D4B1-60B4408282D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64" y="164456"/>
            <a:ext cx="3010558" cy="4534363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4766A1D-57FB-2E0A-0E76-FF2B8D14930A}"/>
              </a:ext>
            </a:extLst>
          </p:cNvPr>
          <p:cNvGrpSpPr/>
          <p:nvPr/>
        </p:nvGrpSpPr>
        <p:grpSpPr>
          <a:xfrm>
            <a:off x="237868" y="503634"/>
            <a:ext cx="2104441" cy="974351"/>
            <a:chOff x="-1463045" y="842720"/>
            <a:chExt cx="1748456" cy="1128402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F2F2F87F-CA40-921A-9937-442A4124FD3C}"/>
                </a:ext>
              </a:extLst>
            </p:cNvPr>
            <p:cNvGrpSpPr/>
            <p:nvPr/>
          </p:nvGrpSpPr>
          <p:grpSpPr>
            <a:xfrm>
              <a:off x="-1463045" y="842720"/>
              <a:ext cx="1748456" cy="1128402"/>
              <a:chOff x="-1463045" y="842720"/>
              <a:chExt cx="1748456" cy="1128402"/>
            </a:xfrm>
          </p:grpSpPr>
          <p:sp>
            <p:nvSpPr>
              <p:cNvPr id="23" name="Free-form: Shape 194">
                <a:extLst>
                  <a:ext uri="{FF2B5EF4-FFF2-40B4-BE49-F238E27FC236}">
                    <a16:creationId xmlns:a16="http://schemas.microsoft.com/office/drawing/2014/main" id="{1262FD47-2B9B-22B1-D2A7-548924ACB08D}"/>
                  </a:ext>
                </a:extLst>
              </p:cNvPr>
              <p:cNvSpPr/>
              <p:nvPr/>
            </p:nvSpPr>
            <p:spPr>
              <a:xfrm>
                <a:off x="-1326185" y="842720"/>
                <a:ext cx="1293526" cy="1128402"/>
              </a:xfrm>
              <a:custGeom>
                <a:avLst/>
                <a:gdLst>
                  <a:gd name="connsiteX0" fmla="*/ 1156432 w 1231077"/>
                  <a:gd name="connsiteY0" fmla="*/ 290683 h 976292"/>
                  <a:gd name="connsiteX1" fmla="*/ 1025490 w 1231077"/>
                  <a:gd name="connsiteY1" fmla="*/ 154391 h 976292"/>
                  <a:gd name="connsiteX2" fmla="*/ 852450 w 1231077"/>
                  <a:gd name="connsiteY2" fmla="*/ 86545 h 976292"/>
                  <a:gd name="connsiteX3" fmla="*/ 614864 w 1231077"/>
                  <a:gd name="connsiteY3" fmla="*/ 0 h 976292"/>
                  <a:gd name="connsiteX4" fmla="*/ 381328 w 1231077"/>
                  <a:gd name="connsiteY4" fmla="*/ 112993 h 976292"/>
                  <a:gd name="connsiteX5" fmla="*/ 208388 w 1231077"/>
                  <a:gd name="connsiteY5" fmla="*/ 130342 h 976292"/>
                  <a:gd name="connsiteX6" fmla="*/ 106544 w 1231077"/>
                  <a:gd name="connsiteY6" fmla="*/ 286233 h 976292"/>
                  <a:gd name="connsiteX7" fmla="*/ 0 w 1231077"/>
                  <a:gd name="connsiteY7" fmla="*/ 407526 h 976292"/>
                  <a:gd name="connsiteX8" fmla="*/ 40548 w 1231077"/>
                  <a:gd name="connsiteY8" fmla="*/ 564517 h 976292"/>
                  <a:gd name="connsiteX9" fmla="*/ 110494 w 1231077"/>
                  <a:gd name="connsiteY9" fmla="*/ 745556 h 976292"/>
                  <a:gd name="connsiteX10" fmla="*/ 286483 w 1231077"/>
                  <a:gd name="connsiteY10" fmla="*/ 860649 h 976292"/>
                  <a:gd name="connsiteX11" fmla="*/ 457973 w 1231077"/>
                  <a:gd name="connsiteY11" fmla="*/ 976292 h 976292"/>
                  <a:gd name="connsiteX12" fmla="*/ 654212 w 1231077"/>
                  <a:gd name="connsiteY12" fmla="*/ 937795 h 976292"/>
                  <a:gd name="connsiteX13" fmla="*/ 945545 w 1231077"/>
                  <a:gd name="connsiteY13" fmla="*/ 892447 h 976292"/>
                  <a:gd name="connsiteX14" fmla="*/ 1117185 w 1231077"/>
                  <a:gd name="connsiteY14" fmla="*/ 678060 h 976292"/>
                  <a:gd name="connsiteX15" fmla="*/ 1231078 w 1231077"/>
                  <a:gd name="connsiteY15" fmla="*/ 482322 h 976292"/>
                  <a:gd name="connsiteX16" fmla="*/ 1156582 w 1231077"/>
                  <a:gd name="connsiteY16" fmla="*/ 290783 h 976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31077" h="976292">
                    <a:moveTo>
                      <a:pt x="1156432" y="290683"/>
                    </a:moveTo>
                    <a:cubicBezTo>
                      <a:pt x="992742" y="282633"/>
                      <a:pt x="923196" y="282933"/>
                      <a:pt x="1025490" y="154391"/>
                    </a:cubicBezTo>
                    <a:cubicBezTo>
                      <a:pt x="851550" y="228537"/>
                      <a:pt x="803153" y="217937"/>
                      <a:pt x="852450" y="86545"/>
                    </a:cubicBezTo>
                    <a:cubicBezTo>
                      <a:pt x="720608" y="189889"/>
                      <a:pt x="664611" y="171640"/>
                      <a:pt x="614864" y="0"/>
                    </a:cubicBezTo>
                    <a:cubicBezTo>
                      <a:pt x="555367" y="181689"/>
                      <a:pt x="502171" y="210038"/>
                      <a:pt x="381328" y="112993"/>
                    </a:cubicBezTo>
                    <a:cubicBezTo>
                      <a:pt x="435624" y="227187"/>
                      <a:pt x="382828" y="224837"/>
                      <a:pt x="208388" y="130342"/>
                    </a:cubicBezTo>
                    <a:cubicBezTo>
                      <a:pt x="297433" y="259885"/>
                      <a:pt x="264734" y="297233"/>
                      <a:pt x="106544" y="286233"/>
                    </a:cubicBezTo>
                    <a:cubicBezTo>
                      <a:pt x="203688" y="342630"/>
                      <a:pt x="158791" y="378728"/>
                      <a:pt x="0" y="407526"/>
                    </a:cubicBezTo>
                    <a:cubicBezTo>
                      <a:pt x="128142" y="463773"/>
                      <a:pt x="142392" y="512770"/>
                      <a:pt x="40548" y="564517"/>
                    </a:cubicBezTo>
                    <a:cubicBezTo>
                      <a:pt x="171990" y="603464"/>
                      <a:pt x="207888" y="643662"/>
                      <a:pt x="110494" y="745556"/>
                    </a:cubicBezTo>
                    <a:cubicBezTo>
                      <a:pt x="285533" y="690409"/>
                      <a:pt x="384527" y="699609"/>
                      <a:pt x="286483" y="860649"/>
                    </a:cubicBezTo>
                    <a:cubicBezTo>
                      <a:pt x="414576" y="774704"/>
                      <a:pt x="457573" y="805053"/>
                      <a:pt x="457973" y="976292"/>
                    </a:cubicBezTo>
                    <a:cubicBezTo>
                      <a:pt x="550818" y="819652"/>
                      <a:pt x="601065" y="803953"/>
                      <a:pt x="654212" y="937795"/>
                    </a:cubicBezTo>
                    <a:cubicBezTo>
                      <a:pt x="700959" y="794103"/>
                      <a:pt x="778004" y="790803"/>
                      <a:pt x="945545" y="892447"/>
                    </a:cubicBezTo>
                    <a:cubicBezTo>
                      <a:pt x="904847" y="734907"/>
                      <a:pt x="954644" y="682310"/>
                      <a:pt x="1117185" y="678060"/>
                    </a:cubicBezTo>
                    <a:cubicBezTo>
                      <a:pt x="1063038" y="605314"/>
                      <a:pt x="1042489" y="516420"/>
                      <a:pt x="1231078" y="482322"/>
                    </a:cubicBezTo>
                    <a:cubicBezTo>
                      <a:pt x="1041939" y="468972"/>
                      <a:pt x="1049438" y="375278"/>
                      <a:pt x="1156582" y="290783"/>
                    </a:cubicBezTo>
                    <a:close/>
                  </a:path>
                </a:pathLst>
              </a:custGeom>
              <a:solidFill>
                <a:srgbClr val="ED7D31"/>
              </a:solidFill>
              <a:ln w="6350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18288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6091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24" name="Free-form: Shape 195">
                <a:extLst>
                  <a:ext uri="{FF2B5EF4-FFF2-40B4-BE49-F238E27FC236}">
                    <a16:creationId xmlns:a16="http://schemas.microsoft.com/office/drawing/2014/main" id="{A5BFE305-61CB-295A-1BB1-99CD1E7369C0}"/>
                  </a:ext>
                </a:extLst>
              </p:cNvPr>
              <p:cNvSpPr/>
              <p:nvPr/>
            </p:nvSpPr>
            <p:spPr>
              <a:xfrm>
                <a:off x="-1390804" y="848845"/>
                <a:ext cx="1449760" cy="1117767"/>
              </a:xfrm>
              <a:custGeom>
                <a:avLst/>
                <a:gdLst>
                  <a:gd name="connsiteX0" fmla="*/ 503420 w 1379768"/>
                  <a:gd name="connsiteY0" fmla="*/ 966943 h 967092"/>
                  <a:gd name="connsiteX1" fmla="*/ 503420 w 1379768"/>
                  <a:gd name="connsiteY1" fmla="*/ 950494 h 967092"/>
                  <a:gd name="connsiteX2" fmla="*/ 438774 w 1379768"/>
                  <a:gd name="connsiteY2" fmla="*/ 800153 h 967092"/>
                  <a:gd name="connsiteX3" fmla="*/ 327531 w 1379768"/>
                  <a:gd name="connsiteY3" fmla="*/ 843950 h 967092"/>
                  <a:gd name="connsiteX4" fmla="*/ 308132 w 1379768"/>
                  <a:gd name="connsiteY4" fmla="*/ 855600 h 967092"/>
                  <a:gd name="connsiteX5" fmla="*/ 320881 w 1379768"/>
                  <a:gd name="connsiteY5" fmla="*/ 836851 h 967092"/>
                  <a:gd name="connsiteX6" fmla="*/ 357579 w 1379768"/>
                  <a:gd name="connsiteY6" fmla="*/ 727257 h 967092"/>
                  <a:gd name="connsiteX7" fmla="*/ 296783 w 1379768"/>
                  <a:gd name="connsiteY7" fmla="*/ 705158 h 967092"/>
                  <a:gd name="connsiteX8" fmla="*/ 138142 w 1379768"/>
                  <a:gd name="connsiteY8" fmla="*/ 734207 h 967092"/>
                  <a:gd name="connsiteX9" fmla="*/ 118493 w 1379768"/>
                  <a:gd name="connsiteY9" fmla="*/ 739756 h 967092"/>
                  <a:gd name="connsiteX10" fmla="*/ 133392 w 1379768"/>
                  <a:gd name="connsiteY10" fmla="*/ 725757 h 967092"/>
                  <a:gd name="connsiteX11" fmla="*/ 189989 w 1379768"/>
                  <a:gd name="connsiteY11" fmla="*/ 630663 h 967092"/>
                  <a:gd name="connsiteX12" fmla="*/ 60746 w 1379768"/>
                  <a:gd name="connsiteY12" fmla="*/ 560817 h 967092"/>
                  <a:gd name="connsiteX13" fmla="*/ 47297 w 1379768"/>
                  <a:gd name="connsiteY13" fmla="*/ 557267 h 967092"/>
                  <a:gd name="connsiteX14" fmla="*/ 59996 w 1379768"/>
                  <a:gd name="connsiteY14" fmla="*/ 551518 h 967092"/>
                  <a:gd name="connsiteX15" fmla="*/ 128942 w 1379768"/>
                  <a:gd name="connsiteY15" fmla="*/ 490621 h 967092"/>
                  <a:gd name="connsiteX16" fmla="*/ 16899 w 1379768"/>
                  <a:gd name="connsiteY16" fmla="*/ 410276 h 967092"/>
                  <a:gd name="connsiteX17" fmla="*/ 0 w 1379768"/>
                  <a:gd name="connsiteY17" fmla="*/ 403626 h 967092"/>
                  <a:gd name="connsiteX18" fmla="*/ 17899 w 1379768"/>
                  <a:gd name="connsiteY18" fmla="*/ 400726 h 967092"/>
                  <a:gd name="connsiteX19" fmla="*/ 182089 w 1379768"/>
                  <a:gd name="connsiteY19" fmla="*/ 342230 h 967092"/>
                  <a:gd name="connsiteX20" fmla="*/ 130392 w 1379768"/>
                  <a:gd name="connsiteY20" fmla="*/ 293883 h 967092"/>
                  <a:gd name="connsiteX21" fmla="*/ 109544 w 1379768"/>
                  <a:gd name="connsiteY21" fmla="*/ 283033 h 967092"/>
                  <a:gd name="connsiteX22" fmla="*/ 132992 w 1379768"/>
                  <a:gd name="connsiteY22" fmla="*/ 284483 h 967092"/>
                  <a:gd name="connsiteX23" fmla="*/ 182939 w 1379768"/>
                  <a:gd name="connsiteY23" fmla="*/ 286233 h 967092"/>
                  <a:gd name="connsiteX24" fmla="*/ 285483 w 1379768"/>
                  <a:gd name="connsiteY24" fmla="*/ 257235 h 967092"/>
                  <a:gd name="connsiteX25" fmla="*/ 237636 w 1379768"/>
                  <a:gd name="connsiteY25" fmla="*/ 143142 h 967092"/>
                  <a:gd name="connsiteX26" fmla="*/ 224837 w 1379768"/>
                  <a:gd name="connsiteY26" fmla="*/ 126443 h 967092"/>
                  <a:gd name="connsiteX27" fmla="*/ 243786 w 1379768"/>
                  <a:gd name="connsiteY27" fmla="*/ 135642 h 967092"/>
                  <a:gd name="connsiteX28" fmla="*/ 422475 w 1379768"/>
                  <a:gd name="connsiteY28" fmla="*/ 201888 h 967092"/>
                  <a:gd name="connsiteX29" fmla="*/ 422475 w 1379768"/>
                  <a:gd name="connsiteY29" fmla="*/ 201888 h 967092"/>
                  <a:gd name="connsiteX30" fmla="*/ 441174 w 1379768"/>
                  <a:gd name="connsiteY30" fmla="*/ 194739 h 967092"/>
                  <a:gd name="connsiteX31" fmla="*/ 422175 w 1379768"/>
                  <a:gd name="connsiteY31" fmla="*/ 125843 h 967092"/>
                  <a:gd name="connsiteX32" fmla="*/ 412176 w 1379768"/>
                  <a:gd name="connsiteY32" fmla="*/ 107044 h 967092"/>
                  <a:gd name="connsiteX33" fmla="*/ 429475 w 1379768"/>
                  <a:gd name="connsiteY33" fmla="*/ 119493 h 967092"/>
                  <a:gd name="connsiteX34" fmla="*/ 544718 w 1379768"/>
                  <a:gd name="connsiteY34" fmla="*/ 171040 h 967092"/>
                  <a:gd name="connsiteX35" fmla="*/ 544718 w 1379768"/>
                  <a:gd name="connsiteY35" fmla="*/ 171040 h 967092"/>
                  <a:gd name="connsiteX36" fmla="*/ 671661 w 1379768"/>
                  <a:gd name="connsiteY36" fmla="*/ 13549 h 967092"/>
                  <a:gd name="connsiteX37" fmla="*/ 676610 w 1379768"/>
                  <a:gd name="connsiteY37" fmla="*/ 0 h 967092"/>
                  <a:gd name="connsiteX38" fmla="*/ 681060 w 1379768"/>
                  <a:gd name="connsiteY38" fmla="*/ 13749 h 967092"/>
                  <a:gd name="connsiteX39" fmla="*/ 794453 w 1379768"/>
                  <a:gd name="connsiteY39" fmla="*/ 154191 h 967092"/>
                  <a:gd name="connsiteX40" fmla="*/ 927596 w 1379768"/>
                  <a:gd name="connsiteY40" fmla="*/ 94144 h 967092"/>
                  <a:gd name="connsiteX41" fmla="*/ 941695 w 1379768"/>
                  <a:gd name="connsiteY41" fmla="*/ 84245 h 967092"/>
                  <a:gd name="connsiteX42" fmla="*/ 935045 w 1379768"/>
                  <a:gd name="connsiteY42" fmla="*/ 100144 h 967092"/>
                  <a:gd name="connsiteX43" fmla="*/ 920796 w 1379768"/>
                  <a:gd name="connsiteY43" fmla="*/ 189889 h 967092"/>
                  <a:gd name="connsiteX44" fmla="*/ 954144 w 1379768"/>
                  <a:gd name="connsiteY44" fmla="*/ 202338 h 967092"/>
                  <a:gd name="connsiteX45" fmla="*/ 1113785 w 1379768"/>
                  <a:gd name="connsiteY45" fmla="*/ 158591 h 967092"/>
                  <a:gd name="connsiteX46" fmla="*/ 1132784 w 1379768"/>
                  <a:gd name="connsiteY46" fmla="*/ 151341 h 967092"/>
                  <a:gd name="connsiteX47" fmla="*/ 1119284 w 1379768"/>
                  <a:gd name="connsiteY47" fmla="*/ 166540 h 967092"/>
                  <a:gd name="connsiteX48" fmla="*/ 1070787 w 1379768"/>
                  <a:gd name="connsiteY48" fmla="*/ 256285 h 967092"/>
                  <a:gd name="connsiteX49" fmla="*/ 1241777 w 1379768"/>
                  <a:gd name="connsiteY49" fmla="*/ 288233 h 967092"/>
                  <a:gd name="connsiteX50" fmla="*/ 1270326 w 1379768"/>
                  <a:gd name="connsiteY50" fmla="*/ 289483 h 967092"/>
                  <a:gd name="connsiteX51" fmla="*/ 1258426 w 1379768"/>
                  <a:gd name="connsiteY51" fmla="*/ 297882 h 967092"/>
                  <a:gd name="connsiteX52" fmla="*/ 1181581 w 1379768"/>
                  <a:gd name="connsiteY52" fmla="*/ 410626 h 967092"/>
                  <a:gd name="connsiteX53" fmla="*/ 1335522 w 1379768"/>
                  <a:gd name="connsiteY53" fmla="*/ 472322 h 967092"/>
                  <a:gd name="connsiteX54" fmla="*/ 1379769 w 1379768"/>
                  <a:gd name="connsiteY54" fmla="*/ 475122 h 967092"/>
                  <a:gd name="connsiteX55" fmla="*/ 1336022 w 1379768"/>
                  <a:gd name="connsiteY55" fmla="*/ 482222 h 967092"/>
                  <a:gd name="connsiteX56" fmla="*/ 1181781 w 1379768"/>
                  <a:gd name="connsiteY56" fmla="*/ 558517 h 967092"/>
                  <a:gd name="connsiteX57" fmla="*/ 1217229 w 1379768"/>
                  <a:gd name="connsiteY57" fmla="*/ 661661 h 967092"/>
                  <a:gd name="connsiteX58" fmla="*/ 1223828 w 1379768"/>
                  <a:gd name="connsiteY58" fmla="*/ 669561 h 967092"/>
                  <a:gd name="connsiteX59" fmla="*/ 1213529 w 1379768"/>
                  <a:gd name="connsiteY59" fmla="*/ 669811 h 967092"/>
                  <a:gd name="connsiteX60" fmla="*/ 1037889 w 1379768"/>
                  <a:gd name="connsiteY60" fmla="*/ 722957 h 967092"/>
                  <a:gd name="connsiteX61" fmla="*/ 1034639 w 1379768"/>
                  <a:gd name="connsiteY61" fmla="*/ 868849 h 967092"/>
                  <a:gd name="connsiteX62" fmla="*/ 1037939 w 1379768"/>
                  <a:gd name="connsiteY62" fmla="*/ 880298 h 967092"/>
                  <a:gd name="connsiteX63" fmla="*/ 1027490 w 1379768"/>
                  <a:gd name="connsiteY63" fmla="*/ 874598 h 967092"/>
                  <a:gd name="connsiteX64" fmla="*/ 840901 w 1379768"/>
                  <a:gd name="connsiteY64" fmla="*/ 807952 h 967092"/>
                  <a:gd name="connsiteX65" fmla="*/ 722958 w 1379768"/>
                  <a:gd name="connsiteY65" fmla="*/ 915396 h 967092"/>
                  <a:gd name="connsiteX66" fmla="*/ 718758 w 1379768"/>
                  <a:gd name="connsiteY66" fmla="*/ 926995 h 967092"/>
                  <a:gd name="connsiteX67" fmla="*/ 713758 w 1379768"/>
                  <a:gd name="connsiteY67" fmla="*/ 915696 h 967092"/>
                  <a:gd name="connsiteX68" fmla="*/ 638413 w 1379768"/>
                  <a:gd name="connsiteY68" fmla="*/ 831851 h 967092"/>
                  <a:gd name="connsiteX69" fmla="*/ 512620 w 1379768"/>
                  <a:gd name="connsiteY69" fmla="*/ 953344 h 967092"/>
                  <a:gd name="connsiteX70" fmla="*/ 503520 w 1379768"/>
                  <a:gd name="connsiteY70" fmla="*/ 967093 h 967092"/>
                  <a:gd name="connsiteX71" fmla="*/ 438774 w 1379768"/>
                  <a:gd name="connsiteY71" fmla="*/ 790153 h 967092"/>
                  <a:gd name="connsiteX72" fmla="*/ 513120 w 1379768"/>
                  <a:gd name="connsiteY72" fmla="*/ 934395 h 967092"/>
                  <a:gd name="connsiteX73" fmla="*/ 638313 w 1379768"/>
                  <a:gd name="connsiteY73" fmla="*/ 821752 h 967092"/>
                  <a:gd name="connsiteX74" fmla="*/ 717808 w 1379768"/>
                  <a:gd name="connsiteY74" fmla="*/ 900647 h 967092"/>
                  <a:gd name="connsiteX75" fmla="*/ 840851 w 1379768"/>
                  <a:gd name="connsiteY75" fmla="*/ 797853 h 967092"/>
                  <a:gd name="connsiteX76" fmla="*/ 1021940 w 1379768"/>
                  <a:gd name="connsiteY76" fmla="*/ 860199 h 967092"/>
                  <a:gd name="connsiteX77" fmla="*/ 1029890 w 1379768"/>
                  <a:gd name="connsiteY77" fmla="*/ 716958 h 967092"/>
                  <a:gd name="connsiteX78" fmla="*/ 1203279 w 1379768"/>
                  <a:gd name="connsiteY78" fmla="*/ 660061 h 967092"/>
                  <a:gd name="connsiteX79" fmla="*/ 1172481 w 1379768"/>
                  <a:gd name="connsiteY79" fmla="*/ 554917 h 967092"/>
                  <a:gd name="connsiteX80" fmla="*/ 1299674 w 1379768"/>
                  <a:gd name="connsiteY80" fmla="*/ 478922 h 967092"/>
                  <a:gd name="connsiteX81" fmla="*/ 1172031 w 1379768"/>
                  <a:gd name="connsiteY81" fmla="*/ 413226 h 967092"/>
                  <a:gd name="connsiteX82" fmla="*/ 1241177 w 1379768"/>
                  <a:gd name="connsiteY82" fmla="*/ 298032 h 967092"/>
                  <a:gd name="connsiteX83" fmla="*/ 1061588 w 1379768"/>
                  <a:gd name="connsiteY83" fmla="*/ 260035 h 967092"/>
                  <a:gd name="connsiteX84" fmla="*/ 1098986 w 1379768"/>
                  <a:gd name="connsiteY84" fmla="*/ 174640 h 967092"/>
                  <a:gd name="connsiteX85" fmla="*/ 954094 w 1379768"/>
                  <a:gd name="connsiteY85" fmla="*/ 212138 h 967092"/>
                  <a:gd name="connsiteX86" fmla="*/ 912496 w 1379768"/>
                  <a:gd name="connsiteY86" fmla="*/ 195238 h 967092"/>
                  <a:gd name="connsiteX87" fmla="*/ 919746 w 1379768"/>
                  <a:gd name="connsiteY87" fmla="*/ 111493 h 967092"/>
                  <a:gd name="connsiteX88" fmla="*/ 794453 w 1379768"/>
                  <a:gd name="connsiteY88" fmla="*/ 164040 h 967092"/>
                  <a:gd name="connsiteX89" fmla="*/ 676060 w 1379768"/>
                  <a:gd name="connsiteY89" fmla="*/ 30148 h 967092"/>
                  <a:gd name="connsiteX90" fmla="*/ 544718 w 1379768"/>
                  <a:gd name="connsiteY90" fmla="*/ 180939 h 967092"/>
                  <a:gd name="connsiteX91" fmla="*/ 544718 w 1379768"/>
                  <a:gd name="connsiteY91" fmla="*/ 180939 h 967092"/>
                  <a:gd name="connsiteX92" fmla="*/ 439724 w 1379768"/>
                  <a:gd name="connsiteY92" fmla="*/ 138692 h 967092"/>
                  <a:gd name="connsiteX93" fmla="*/ 449674 w 1379768"/>
                  <a:gd name="connsiteY93" fmla="*/ 199838 h 967092"/>
                  <a:gd name="connsiteX94" fmla="*/ 422425 w 1379768"/>
                  <a:gd name="connsiteY94" fmla="*/ 211788 h 967092"/>
                  <a:gd name="connsiteX95" fmla="*/ 422425 w 1379768"/>
                  <a:gd name="connsiteY95" fmla="*/ 211788 h 967092"/>
                  <a:gd name="connsiteX96" fmla="*/ 257635 w 1379768"/>
                  <a:gd name="connsiteY96" fmla="*/ 153291 h 967092"/>
                  <a:gd name="connsiteX97" fmla="*/ 294383 w 1379768"/>
                  <a:gd name="connsiteY97" fmla="*/ 261585 h 967092"/>
                  <a:gd name="connsiteX98" fmla="*/ 182889 w 1379768"/>
                  <a:gd name="connsiteY98" fmla="*/ 296133 h 967092"/>
                  <a:gd name="connsiteX99" fmla="*/ 153641 w 1379768"/>
                  <a:gd name="connsiteY99" fmla="*/ 295483 h 967092"/>
                  <a:gd name="connsiteX100" fmla="*/ 191889 w 1379768"/>
                  <a:gd name="connsiteY100" fmla="*/ 343780 h 967092"/>
                  <a:gd name="connsiteX101" fmla="*/ 36798 w 1379768"/>
                  <a:gd name="connsiteY101" fmla="*/ 407626 h 967092"/>
                  <a:gd name="connsiteX102" fmla="*/ 138842 w 1379768"/>
                  <a:gd name="connsiteY102" fmla="*/ 490321 h 967092"/>
                  <a:gd name="connsiteX103" fmla="*/ 76296 w 1379768"/>
                  <a:gd name="connsiteY103" fmla="*/ 554717 h 967092"/>
                  <a:gd name="connsiteX104" fmla="*/ 199638 w 1379768"/>
                  <a:gd name="connsiteY104" fmla="*/ 628213 h 967092"/>
                  <a:gd name="connsiteX105" fmla="*/ 154141 w 1379768"/>
                  <a:gd name="connsiteY105" fmla="*/ 719458 h 967092"/>
                  <a:gd name="connsiteX106" fmla="*/ 296833 w 1379768"/>
                  <a:gd name="connsiteY106" fmla="*/ 695209 h 967092"/>
                  <a:gd name="connsiteX107" fmla="*/ 366428 w 1379768"/>
                  <a:gd name="connsiteY107" fmla="*/ 722607 h 967092"/>
                  <a:gd name="connsiteX108" fmla="*/ 340630 w 1379768"/>
                  <a:gd name="connsiteY108" fmla="*/ 824801 h 967092"/>
                  <a:gd name="connsiteX109" fmla="*/ 438824 w 1379768"/>
                  <a:gd name="connsiteY109" fmla="*/ 790103 h 967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</a:cxnLst>
                <a:rect l="l" t="t" r="r" b="b"/>
                <a:pathLst>
                  <a:path w="1379768" h="967092">
                    <a:moveTo>
                      <a:pt x="503420" y="966943"/>
                    </a:moveTo>
                    <a:lnTo>
                      <a:pt x="503420" y="950494"/>
                    </a:lnTo>
                    <a:cubicBezTo>
                      <a:pt x="503120" y="845100"/>
                      <a:pt x="483822" y="800153"/>
                      <a:pt x="438774" y="800153"/>
                    </a:cubicBezTo>
                    <a:cubicBezTo>
                      <a:pt x="412976" y="800153"/>
                      <a:pt x="376578" y="814502"/>
                      <a:pt x="327531" y="843950"/>
                    </a:cubicBezTo>
                    <a:lnTo>
                      <a:pt x="308132" y="855600"/>
                    </a:lnTo>
                    <a:lnTo>
                      <a:pt x="320881" y="836851"/>
                    </a:lnTo>
                    <a:cubicBezTo>
                      <a:pt x="356229" y="784904"/>
                      <a:pt x="368578" y="748006"/>
                      <a:pt x="357579" y="727257"/>
                    </a:cubicBezTo>
                    <a:cubicBezTo>
                      <a:pt x="349829" y="712608"/>
                      <a:pt x="329381" y="705158"/>
                      <a:pt x="296783" y="705158"/>
                    </a:cubicBezTo>
                    <a:cubicBezTo>
                      <a:pt x="259785" y="705158"/>
                      <a:pt x="206388" y="714908"/>
                      <a:pt x="138142" y="734207"/>
                    </a:cubicBezTo>
                    <a:lnTo>
                      <a:pt x="118493" y="739756"/>
                    </a:lnTo>
                    <a:lnTo>
                      <a:pt x="133392" y="725757"/>
                    </a:lnTo>
                    <a:cubicBezTo>
                      <a:pt x="177840" y="684110"/>
                      <a:pt x="195839" y="653911"/>
                      <a:pt x="189989" y="630663"/>
                    </a:cubicBezTo>
                    <a:cubicBezTo>
                      <a:pt x="183289" y="603964"/>
                      <a:pt x="144642" y="583066"/>
                      <a:pt x="60746" y="560817"/>
                    </a:cubicBezTo>
                    <a:lnTo>
                      <a:pt x="47297" y="557267"/>
                    </a:lnTo>
                    <a:lnTo>
                      <a:pt x="59996" y="551518"/>
                    </a:lnTo>
                    <a:cubicBezTo>
                      <a:pt x="106244" y="530469"/>
                      <a:pt x="129442" y="509970"/>
                      <a:pt x="128942" y="490621"/>
                    </a:cubicBezTo>
                    <a:cubicBezTo>
                      <a:pt x="128292" y="466323"/>
                      <a:pt x="90595" y="439274"/>
                      <a:pt x="16899" y="410276"/>
                    </a:cubicBezTo>
                    <a:lnTo>
                      <a:pt x="0" y="403626"/>
                    </a:lnTo>
                    <a:lnTo>
                      <a:pt x="17899" y="400726"/>
                    </a:lnTo>
                    <a:cubicBezTo>
                      <a:pt x="123343" y="383577"/>
                      <a:pt x="178590" y="363879"/>
                      <a:pt x="182089" y="342230"/>
                    </a:cubicBezTo>
                    <a:cubicBezTo>
                      <a:pt x="183539" y="333180"/>
                      <a:pt x="175740" y="317431"/>
                      <a:pt x="130392" y="293883"/>
                    </a:cubicBezTo>
                    <a:lnTo>
                      <a:pt x="109544" y="283033"/>
                    </a:lnTo>
                    <a:lnTo>
                      <a:pt x="132992" y="284483"/>
                    </a:lnTo>
                    <a:cubicBezTo>
                      <a:pt x="151441" y="285633"/>
                      <a:pt x="168240" y="286233"/>
                      <a:pt x="182939" y="286233"/>
                    </a:cubicBezTo>
                    <a:cubicBezTo>
                      <a:pt x="242336" y="286233"/>
                      <a:pt x="275884" y="276734"/>
                      <a:pt x="285483" y="257235"/>
                    </a:cubicBezTo>
                    <a:cubicBezTo>
                      <a:pt x="295933" y="236036"/>
                      <a:pt x="280284" y="198688"/>
                      <a:pt x="237636" y="143142"/>
                    </a:cubicBezTo>
                    <a:lnTo>
                      <a:pt x="224837" y="126443"/>
                    </a:lnTo>
                    <a:lnTo>
                      <a:pt x="243786" y="135642"/>
                    </a:lnTo>
                    <a:cubicBezTo>
                      <a:pt x="336930" y="180839"/>
                      <a:pt x="393727" y="201888"/>
                      <a:pt x="422475" y="201888"/>
                    </a:cubicBezTo>
                    <a:lnTo>
                      <a:pt x="422475" y="201888"/>
                    </a:lnTo>
                    <a:cubicBezTo>
                      <a:pt x="432175" y="201888"/>
                      <a:pt x="438324" y="199538"/>
                      <a:pt x="441174" y="194739"/>
                    </a:cubicBezTo>
                    <a:cubicBezTo>
                      <a:pt x="447374" y="184439"/>
                      <a:pt x="440974" y="161241"/>
                      <a:pt x="422175" y="125843"/>
                    </a:cubicBezTo>
                    <a:lnTo>
                      <a:pt x="412176" y="107044"/>
                    </a:lnTo>
                    <a:lnTo>
                      <a:pt x="429475" y="119493"/>
                    </a:lnTo>
                    <a:cubicBezTo>
                      <a:pt x="478372" y="154641"/>
                      <a:pt x="515020" y="171040"/>
                      <a:pt x="544718" y="171040"/>
                    </a:cubicBezTo>
                    <a:lnTo>
                      <a:pt x="544718" y="171040"/>
                    </a:lnTo>
                    <a:cubicBezTo>
                      <a:pt x="594015" y="171040"/>
                      <a:pt x="630763" y="125393"/>
                      <a:pt x="671661" y="13549"/>
                    </a:cubicBezTo>
                    <a:lnTo>
                      <a:pt x="676610" y="0"/>
                    </a:lnTo>
                    <a:lnTo>
                      <a:pt x="681060" y="13749"/>
                    </a:lnTo>
                    <a:cubicBezTo>
                      <a:pt x="713358" y="113493"/>
                      <a:pt x="746206" y="154191"/>
                      <a:pt x="794453" y="154191"/>
                    </a:cubicBezTo>
                    <a:cubicBezTo>
                      <a:pt x="826951" y="154191"/>
                      <a:pt x="869249" y="135092"/>
                      <a:pt x="927596" y="94144"/>
                    </a:cubicBezTo>
                    <a:lnTo>
                      <a:pt x="941695" y="84245"/>
                    </a:lnTo>
                    <a:lnTo>
                      <a:pt x="935045" y="100144"/>
                    </a:lnTo>
                    <a:cubicBezTo>
                      <a:pt x="915796" y="146041"/>
                      <a:pt x="911147" y="175390"/>
                      <a:pt x="920796" y="189889"/>
                    </a:cubicBezTo>
                    <a:cubicBezTo>
                      <a:pt x="926396" y="198238"/>
                      <a:pt x="937245" y="202338"/>
                      <a:pt x="954144" y="202338"/>
                    </a:cubicBezTo>
                    <a:cubicBezTo>
                      <a:pt x="984942" y="202338"/>
                      <a:pt x="1035689" y="188439"/>
                      <a:pt x="1113785" y="158591"/>
                    </a:cubicBezTo>
                    <a:lnTo>
                      <a:pt x="1132784" y="151341"/>
                    </a:lnTo>
                    <a:lnTo>
                      <a:pt x="1119284" y="166540"/>
                    </a:lnTo>
                    <a:cubicBezTo>
                      <a:pt x="1079337" y="211488"/>
                      <a:pt x="1063938" y="239986"/>
                      <a:pt x="1070787" y="256285"/>
                    </a:cubicBezTo>
                    <a:cubicBezTo>
                      <a:pt x="1081337" y="281233"/>
                      <a:pt x="1148633" y="284183"/>
                      <a:pt x="1241777" y="288233"/>
                    </a:cubicBezTo>
                    <a:lnTo>
                      <a:pt x="1270326" y="289483"/>
                    </a:lnTo>
                    <a:lnTo>
                      <a:pt x="1258426" y="297882"/>
                    </a:lnTo>
                    <a:cubicBezTo>
                      <a:pt x="1200830" y="338580"/>
                      <a:pt x="1172831" y="379678"/>
                      <a:pt x="1181581" y="410626"/>
                    </a:cubicBezTo>
                    <a:cubicBezTo>
                      <a:pt x="1191230" y="444774"/>
                      <a:pt x="1245927" y="466673"/>
                      <a:pt x="1335522" y="472322"/>
                    </a:cubicBezTo>
                    <a:lnTo>
                      <a:pt x="1379769" y="475122"/>
                    </a:lnTo>
                    <a:lnTo>
                      <a:pt x="1336022" y="482222"/>
                    </a:lnTo>
                    <a:cubicBezTo>
                      <a:pt x="1247277" y="496571"/>
                      <a:pt x="1195380" y="522269"/>
                      <a:pt x="1181781" y="558517"/>
                    </a:cubicBezTo>
                    <a:cubicBezTo>
                      <a:pt x="1171431" y="586165"/>
                      <a:pt x="1183331" y="620863"/>
                      <a:pt x="1217229" y="661661"/>
                    </a:cubicBezTo>
                    <a:lnTo>
                      <a:pt x="1223828" y="669561"/>
                    </a:lnTo>
                    <a:lnTo>
                      <a:pt x="1213529" y="669811"/>
                    </a:lnTo>
                    <a:cubicBezTo>
                      <a:pt x="1117384" y="672060"/>
                      <a:pt x="1063238" y="688459"/>
                      <a:pt x="1037889" y="722957"/>
                    </a:cubicBezTo>
                    <a:cubicBezTo>
                      <a:pt x="1015690" y="753206"/>
                      <a:pt x="1014641" y="799553"/>
                      <a:pt x="1034639" y="868849"/>
                    </a:cubicBezTo>
                    <a:lnTo>
                      <a:pt x="1037939" y="880298"/>
                    </a:lnTo>
                    <a:lnTo>
                      <a:pt x="1027490" y="874598"/>
                    </a:lnTo>
                    <a:cubicBezTo>
                      <a:pt x="942645" y="828501"/>
                      <a:pt x="885098" y="807952"/>
                      <a:pt x="840901" y="807952"/>
                    </a:cubicBezTo>
                    <a:cubicBezTo>
                      <a:pt x="786354" y="807952"/>
                      <a:pt x="749956" y="841100"/>
                      <a:pt x="722958" y="915396"/>
                    </a:cubicBezTo>
                    <a:lnTo>
                      <a:pt x="718758" y="926995"/>
                    </a:lnTo>
                    <a:lnTo>
                      <a:pt x="713758" y="915696"/>
                    </a:lnTo>
                    <a:cubicBezTo>
                      <a:pt x="688410" y="858499"/>
                      <a:pt x="664461" y="831851"/>
                      <a:pt x="638413" y="831851"/>
                    </a:cubicBezTo>
                    <a:cubicBezTo>
                      <a:pt x="607014" y="831851"/>
                      <a:pt x="568217" y="869299"/>
                      <a:pt x="512620" y="953344"/>
                    </a:cubicBezTo>
                    <a:lnTo>
                      <a:pt x="503520" y="967093"/>
                    </a:lnTo>
                    <a:close/>
                    <a:moveTo>
                      <a:pt x="438774" y="790153"/>
                    </a:moveTo>
                    <a:cubicBezTo>
                      <a:pt x="488221" y="790153"/>
                      <a:pt x="510820" y="833501"/>
                      <a:pt x="513120" y="934395"/>
                    </a:cubicBezTo>
                    <a:cubicBezTo>
                      <a:pt x="566767" y="855600"/>
                      <a:pt x="604565" y="821752"/>
                      <a:pt x="638313" y="821752"/>
                    </a:cubicBezTo>
                    <a:cubicBezTo>
                      <a:pt x="667361" y="821752"/>
                      <a:pt x="692109" y="846200"/>
                      <a:pt x="717808" y="900647"/>
                    </a:cubicBezTo>
                    <a:cubicBezTo>
                      <a:pt x="746056" y="829651"/>
                      <a:pt x="784354" y="797853"/>
                      <a:pt x="840851" y="797853"/>
                    </a:cubicBezTo>
                    <a:cubicBezTo>
                      <a:pt x="884948" y="797853"/>
                      <a:pt x="941095" y="817152"/>
                      <a:pt x="1021940" y="860199"/>
                    </a:cubicBezTo>
                    <a:cubicBezTo>
                      <a:pt x="1004391" y="793853"/>
                      <a:pt x="1006941" y="748156"/>
                      <a:pt x="1029890" y="716958"/>
                    </a:cubicBezTo>
                    <a:cubicBezTo>
                      <a:pt x="1056288" y="681010"/>
                      <a:pt x="1109935" y="663311"/>
                      <a:pt x="1203279" y="660061"/>
                    </a:cubicBezTo>
                    <a:cubicBezTo>
                      <a:pt x="1171831" y="619664"/>
                      <a:pt x="1161482" y="584316"/>
                      <a:pt x="1172481" y="554917"/>
                    </a:cubicBezTo>
                    <a:cubicBezTo>
                      <a:pt x="1185430" y="520369"/>
                      <a:pt x="1228128" y="494871"/>
                      <a:pt x="1299674" y="478922"/>
                    </a:cubicBezTo>
                    <a:cubicBezTo>
                      <a:pt x="1225528" y="469672"/>
                      <a:pt x="1181681" y="447224"/>
                      <a:pt x="1172031" y="413226"/>
                    </a:cubicBezTo>
                    <a:cubicBezTo>
                      <a:pt x="1162532" y="379728"/>
                      <a:pt x="1187030" y="339130"/>
                      <a:pt x="1241177" y="298032"/>
                    </a:cubicBezTo>
                    <a:cubicBezTo>
                      <a:pt x="1137283" y="293483"/>
                      <a:pt x="1074587" y="290733"/>
                      <a:pt x="1061588" y="260035"/>
                    </a:cubicBezTo>
                    <a:cubicBezTo>
                      <a:pt x="1053738" y="241436"/>
                      <a:pt x="1064938" y="215437"/>
                      <a:pt x="1098986" y="174640"/>
                    </a:cubicBezTo>
                    <a:cubicBezTo>
                      <a:pt x="1029140" y="200488"/>
                      <a:pt x="984042" y="212138"/>
                      <a:pt x="954094" y="212138"/>
                    </a:cubicBezTo>
                    <a:cubicBezTo>
                      <a:pt x="933645" y="212138"/>
                      <a:pt x="920046" y="206638"/>
                      <a:pt x="912496" y="195238"/>
                    </a:cubicBezTo>
                    <a:cubicBezTo>
                      <a:pt x="901997" y="179439"/>
                      <a:pt x="904247" y="152591"/>
                      <a:pt x="919746" y="111493"/>
                    </a:cubicBezTo>
                    <a:cubicBezTo>
                      <a:pt x="865949" y="147741"/>
                      <a:pt x="826902" y="164040"/>
                      <a:pt x="794453" y="164040"/>
                    </a:cubicBezTo>
                    <a:cubicBezTo>
                      <a:pt x="743406" y="164040"/>
                      <a:pt x="708608" y="125043"/>
                      <a:pt x="676060" y="30148"/>
                    </a:cubicBezTo>
                    <a:cubicBezTo>
                      <a:pt x="635363" y="136992"/>
                      <a:pt x="596865" y="180889"/>
                      <a:pt x="544718" y="180939"/>
                    </a:cubicBezTo>
                    <a:lnTo>
                      <a:pt x="544718" y="180939"/>
                    </a:lnTo>
                    <a:cubicBezTo>
                      <a:pt x="516270" y="180939"/>
                      <a:pt x="482622" y="167440"/>
                      <a:pt x="439724" y="138692"/>
                    </a:cubicBezTo>
                    <a:cubicBezTo>
                      <a:pt x="453573" y="168490"/>
                      <a:pt x="456723" y="188139"/>
                      <a:pt x="449674" y="199838"/>
                    </a:cubicBezTo>
                    <a:cubicBezTo>
                      <a:pt x="444924" y="207788"/>
                      <a:pt x="435724" y="211788"/>
                      <a:pt x="422425" y="211788"/>
                    </a:cubicBezTo>
                    <a:lnTo>
                      <a:pt x="422425" y="211788"/>
                    </a:lnTo>
                    <a:cubicBezTo>
                      <a:pt x="393727" y="211788"/>
                      <a:pt x="342530" y="193639"/>
                      <a:pt x="257635" y="153291"/>
                    </a:cubicBezTo>
                    <a:cubicBezTo>
                      <a:pt x="294533" y="204538"/>
                      <a:pt x="305832" y="238336"/>
                      <a:pt x="294383" y="261585"/>
                    </a:cubicBezTo>
                    <a:cubicBezTo>
                      <a:pt x="282783" y="285133"/>
                      <a:pt x="247335" y="296133"/>
                      <a:pt x="182889" y="296133"/>
                    </a:cubicBezTo>
                    <a:cubicBezTo>
                      <a:pt x="173890" y="296133"/>
                      <a:pt x="164090" y="295933"/>
                      <a:pt x="153641" y="295483"/>
                    </a:cubicBezTo>
                    <a:cubicBezTo>
                      <a:pt x="182089" y="312882"/>
                      <a:pt x="194339" y="328431"/>
                      <a:pt x="191889" y="343780"/>
                    </a:cubicBezTo>
                    <a:cubicBezTo>
                      <a:pt x="187689" y="369878"/>
                      <a:pt x="139692" y="389727"/>
                      <a:pt x="36798" y="407626"/>
                    </a:cubicBezTo>
                    <a:cubicBezTo>
                      <a:pt x="105594" y="436474"/>
                      <a:pt x="138142" y="462923"/>
                      <a:pt x="138842" y="490321"/>
                    </a:cubicBezTo>
                    <a:cubicBezTo>
                      <a:pt x="139442" y="512370"/>
                      <a:pt x="118943" y="533519"/>
                      <a:pt x="76296" y="554717"/>
                    </a:cubicBezTo>
                    <a:cubicBezTo>
                      <a:pt x="156191" y="577066"/>
                      <a:pt x="192239" y="598715"/>
                      <a:pt x="199638" y="628213"/>
                    </a:cubicBezTo>
                    <a:cubicBezTo>
                      <a:pt x="205738" y="652512"/>
                      <a:pt x="191239" y="681760"/>
                      <a:pt x="154141" y="719458"/>
                    </a:cubicBezTo>
                    <a:cubicBezTo>
                      <a:pt x="215037" y="703159"/>
                      <a:pt x="261885" y="695209"/>
                      <a:pt x="296833" y="695209"/>
                    </a:cubicBezTo>
                    <a:cubicBezTo>
                      <a:pt x="331781" y="695209"/>
                      <a:pt x="356779" y="704409"/>
                      <a:pt x="366428" y="722607"/>
                    </a:cubicBezTo>
                    <a:cubicBezTo>
                      <a:pt x="378028" y="744556"/>
                      <a:pt x="369628" y="778104"/>
                      <a:pt x="340630" y="824801"/>
                    </a:cubicBezTo>
                    <a:cubicBezTo>
                      <a:pt x="382728" y="801203"/>
                      <a:pt x="414226" y="790103"/>
                      <a:pt x="438824" y="790103"/>
                    </a:cubicBez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 w="49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endParaRPr>
              </a:p>
            </p:txBody>
          </p: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462C4441-1BBA-53B2-76CE-641D7A965B3B}"/>
                  </a:ext>
                </a:extLst>
              </p:cNvPr>
              <p:cNvGrpSpPr/>
              <p:nvPr/>
            </p:nvGrpSpPr>
            <p:grpSpPr>
              <a:xfrm rot="15264357">
                <a:off x="-1453887" y="882710"/>
                <a:ext cx="303957" cy="322273"/>
                <a:chOff x="3039155" y="27691"/>
                <a:chExt cx="300415" cy="318517"/>
              </a:xfrm>
            </p:grpSpPr>
            <p:sp>
              <p:nvSpPr>
                <p:cNvPr id="30" name="Free-form: Shape 196">
                  <a:extLst>
                    <a:ext uri="{FF2B5EF4-FFF2-40B4-BE49-F238E27FC236}">
                      <a16:creationId xmlns:a16="http://schemas.microsoft.com/office/drawing/2014/main" id="{D900FD4A-CB50-75CF-6429-F8A6DE71659D}"/>
                    </a:ext>
                  </a:extLst>
                </p:cNvPr>
                <p:cNvSpPr/>
                <p:nvPr/>
              </p:nvSpPr>
              <p:spPr>
                <a:xfrm>
                  <a:off x="3039155" y="34372"/>
                  <a:ext cx="300415" cy="311836"/>
                </a:xfrm>
                <a:custGeom>
                  <a:avLst/>
                  <a:gdLst>
                    <a:gd name="connsiteX0" fmla="*/ 267784 w 289283"/>
                    <a:gd name="connsiteY0" fmla="*/ 0 h 272983"/>
                    <a:gd name="connsiteX1" fmla="*/ 0 w 289283"/>
                    <a:gd name="connsiteY1" fmla="*/ 272984 h 272983"/>
                    <a:gd name="connsiteX2" fmla="*/ 289283 w 289283"/>
                    <a:gd name="connsiteY2" fmla="*/ 56647 h 272983"/>
                    <a:gd name="connsiteX3" fmla="*/ 267784 w 289283"/>
                    <a:gd name="connsiteY3" fmla="*/ 0 h 272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9283" h="272983">
                      <a:moveTo>
                        <a:pt x="267784" y="0"/>
                      </a:moveTo>
                      <a:lnTo>
                        <a:pt x="0" y="272984"/>
                      </a:lnTo>
                      <a:lnTo>
                        <a:pt x="289283" y="56647"/>
                      </a:lnTo>
                      <a:lnTo>
                        <a:pt x="267784" y="0"/>
                      </a:lnTo>
                      <a:close/>
                    </a:path>
                  </a:pathLst>
                </a:custGeom>
                <a:solidFill>
                  <a:srgbClr val="ED7D31"/>
                </a:solidFill>
                <a:ln w="497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" name="Free-form: Shape 197">
                  <a:extLst>
                    <a:ext uri="{FF2B5EF4-FFF2-40B4-BE49-F238E27FC236}">
                      <a16:creationId xmlns:a16="http://schemas.microsoft.com/office/drawing/2014/main" id="{FBCA8B92-B42F-771A-AC0F-116F867AB354}"/>
                    </a:ext>
                  </a:extLst>
                </p:cNvPr>
                <p:cNvSpPr/>
                <p:nvPr/>
              </p:nvSpPr>
              <p:spPr>
                <a:xfrm>
                  <a:off x="3112104" y="230442"/>
                  <a:ext cx="193457" cy="109771"/>
                </a:xfrm>
                <a:custGeom>
                  <a:avLst/>
                  <a:gdLst>
                    <a:gd name="connsiteX0" fmla="*/ 162791 w 186289"/>
                    <a:gd name="connsiteY0" fmla="*/ 0 h 96094"/>
                    <a:gd name="connsiteX1" fmla="*/ 0 w 186289"/>
                    <a:gd name="connsiteY1" fmla="*/ 96094 h 96094"/>
                    <a:gd name="connsiteX2" fmla="*/ 186289 w 186289"/>
                    <a:gd name="connsiteY2" fmla="*/ 31398 h 96094"/>
                    <a:gd name="connsiteX3" fmla="*/ 162791 w 186289"/>
                    <a:gd name="connsiteY3" fmla="*/ 0 h 96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6289" h="96094">
                      <a:moveTo>
                        <a:pt x="162791" y="0"/>
                      </a:moveTo>
                      <a:lnTo>
                        <a:pt x="0" y="96094"/>
                      </a:lnTo>
                      <a:lnTo>
                        <a:pt x="186289" y="31398"/>
                      </a:lnTo>
                      <a:lnTo>
                        <a:pt x="162791" y="0"/>
                      </a:lnTo>
                      <a:close/>
                    </a:path>
                  </a:pathLst>
                </a:custGeom>
                <a:solidFill>
                  <a:srgbClr val="ED7D31"/>
                </a:solidFill>
                <a:ln w="497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" name="Free-form: Shape 198">
                  <a:extLst>
                    <a:ext uri="{FF2B5EF4-FFF2-40B4-BE49-F238E27FC236}">
                      <a16:creationId xmlns:a16="http://schemas.microsoft.com/office/drawing/2014/main" id="{88E04C54-4836-9119-B67C-CCA768F5F8C4}"/>
                    </a:ext>
                  </a:extLst>
                </p:cNvPr>
                <p:cNvSpPr/>
                <p:nvPr/>
              </p:nvSpPr>
              <p:spPr>
                <a:xfrm>
                  <a:off x="3070101" y="27691"/>
                  <a:ext cx="139719" cy="223026"/>
                </a:xfrm>
                <a:custGeom>
                  <a:avLst/>
                  <a:gdLst>
                    <a:gd name="connsiteX0" fmla="*/ 0 w 134542"/>
                    <a:gd name="connsiteY0" fmla="*/ 195238 h 195238"/>
                    <a:gd name="connsiteX1" fmla="*/ 134542 w 134542"/>
                    <a:gd name="connsiteY1" fmla="*/ 7800 h 195238"/>
                    <a:gd name="connsiteX2" fmla="*/ 75946 w 134542"/>
                    <a:gd name="connsiteY2" fmla="*/ 0 h 195238"/>
                    <a:gd name="connsiteX3" fmla="*/ 0 w 134542"/>
                    <a:gd name="connsiteY3" fmla="*/ 195238 h 195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542" h="195238">
                      <a:moveTo>
                        <a:pt x="0" y="195238"/>
                      </a:moveTo>
                      <a:lnTo>
                        <a:pt x="134542" y="7800"/>
                      </a:lnTo>
                      <a:lnTo>
                        <a:pt x="75946" y="0"/>
                      </a:lnTo>
                      <a:lnTo>
                        <a:pt x="0" y="195238"/>
                      </a:lnTo>
                      <a:close/>
                    </a:path>
                  </a:pathLst>
                </a:custGeom>
                <a:solidFill>
                  <a:srgbClr val="ED7D31"/>
                </a:solidFill>
                <a:ln w="497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C29A49C2-C6DE-4444-E46C-03DC570F613E}"/>
                  </a:ext>
                </a:extLst>
              </p:cNvPr>
              <p:cNvGrpSpPr/>
              <p:nvPr/>
            </p:nvGrpSpPr>
            <p:grpSpPr>
              <a:xfrm rot="14503827">
                <a:off x="-29082" y="1415332"/>
                <a:ext cx="305322" cy="323664"/>
                <a:chOff x="1924360" y="1084054"/>
                <a:chExt cx="301764" cy="319890"/>
              </a:xfrm>
            </p:grpSpPr>
            <p:sp>
              <p:nvSpPr>
                <p:cNvPr id="27" name="Free-form: Shape 199">
                  <a:extLst>
                    <a:ext uri="{FF2B5EF4-FFF2-40B4-BE49-F238E27FC236}">
                      <a16:creationId xmlns:a16="http://schemas.microsoft.com/office/drawing/2014/main" id="{1B959B77-968F-1696-C03C-2CA68143492A}"/>
                    </a:ext>
                  </a:extLst>
                </p:cNvPr>
                <p:cNvSpPr/>
                <p:nvPr/>
              </p:nvSpPr>
              <p:spPr>
                <a:xfrm>
                  <a:off x="1924360" y="1084054"/>
                  <a:ext cx="301764" cy="313150"/>
                </a:xfrm>
                <a:custGeom>
                  <a:avLst/>
                  <a:gdLst>
                    <a:gd name="connsiteX0" fmla="*/ 21599 w 290582"/>
                    <a:gd name="connsiteY0" fmla="*/ 274134 h 274133"/>
                    <a:gd name="connsiteX1" fmla="*/ 290583 w 290582"/>
                    <a:gd name="connsiteY1" fmla="*/ 0 h 274133"/>
                    <a:gd name="connsiteX2" fmla="*/ 0 w 290582"/>
                    <a:gd name="connsiteY2" fmla="*/ 217287 h 274133"/>
                    <a:gd name="connsiteX3" fmla="*/ 21599 w 290582"/>
                    <a:gd name="connsiteY3" fmla="*/ 274134 h 274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0582" h="274133">
                      <a:moveTo>
                        <a:pt x="21599" y="274134"/>
                      </a:moveTo>
                      <a:lnTo>
                        <a:pt x="290583" y="0"/>
                      </a:lnTo>
                      <a:lnTo>
                        <a:pt x="0" y="217287"/>
                      </a:lnTo>
                      <a:lnTo>
                        <a:pt x="21599" y="274134"/>
                      </a:lnTo>
                      <a:close/>
                    </a:path>
                  </a:pathLst>
                </a:custGeom>
                <a:solidFill>
                  <a:srgbClr val="ED7D31"/>
                </a:solidFill>
                <a:ln w="497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" name="Free-form: Shape 200">
                  <a:extLst>
                    <a:ext uri="{FF2B5EF4-FFF2-40B4-BE49-F238E27FC236}">
                      <a16:creationId xmlns:a16="http://schemas.microsoft.com/office/drawing/2014/main" id="{7FCB817E-52E8-AD6E-47EB-D73CF30F1BA3}"/>
                    </a:ext>
                  </a:extLst>
                </p:cNvPr>
                <p:cNvSpPr/>
                <p:nvPr/>
              </p:nvSpPr>
              <p:spPr>
                <a:xfrm>
                  <a:off x="1965118" y="1085825"/>
                  <a:ext cx="193457" cy="109771"/>
                </a:xfrm>
                <a:custGeom>
                  <a:avLst/>
                  <a:gdLst>
                    <a:gd name="connsiteX0" fmla="*/ 23499 w 186289"/>
                    <a:gd name="connsiteY0" fmla="*/ 96094 h 96094"/>
                    <a:gd name="connsiteX1" fmla="*/ 186289 w 186289"/>
                    <a:gd name="connsiteY1" fmla="*/ 0 h 96094"/>
                    <a:gd name="connsiteX2" fmla="*/ 0 w 186289"/>
                    <a:gd name="connsiteY2" fmla="*/ 64696 h 96094"/>
                    <a:gd name="connsiteX3" fmla="*/ 23499 w 186289"/>
                    <a:gd name="connsiteY3" fmla="*/ 96094 h 96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6289" h="96094">
                      <a:moveTo>
                        <a:pt x="23499" y="96094"/>
                      </a:moveTo>
                      <a:lnTo>
                        <a:pt x="186289" y="0"/>
                      </a:lnTo>
                      <a:lnTo>
                        <a:pt x="0" y="64696"/>
                      </a:lnTo>
                      <a:lnTo>
                        <a:pt x="23499" y="96094"/>
                      </a:lnTo>
                      <a:close/>
                    </a:path>
                  </a:pathLst>
                </a:custGeom>
                <a:solidFill>
                  <a:srgbClr val="ED7D31"/>
                </a:solidFill>
                <a:ln w="497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" name="Free-form: Shape 201">
                  <a:extLst>
                    <a:ext uri="{FF2B5EF4-FFF2-40B4-BE49-F238E27FC236}">
                      <a16:creationId xmlns:a16="http://schemas.microsoft.com/office/drawing/2014/main" id="{5A41FB88-9996-ECB0-0D7D-AF32C2FDB00F}"/>
                    </a:ext>
                  </a:extLst>
                </p:cNvPr>
                <p:cNvSpPr/>
                <p:nvPr/>
              </p:nvSpPr>
              <p:spPr>
                <a:xfrm>
                  <a:off x="2054734" y="1179947"/>
                  <a:ext cx="140290" cy="223997"/>
                </a:xfrm>
                <a:custGeom>
                  <a:avLst/>
                  <a:gdLst>
                    <a:gd name="connsiteX0" fmla="*/ 135092 w 135092"/>
                    <a:gd name="connsiteY0" fmla="*/ 0 h 196088"/>
                    <a:gd name="connsiteX1" fmla="*/ 0 w 135092"/>
                    <a:gd name="connsiteY1" fmla="*/ 188239 h 196088"/>
                    <a:gd name="connsiteX2" fmla="*/ 58797 w 135092"/>
                    <a:gd name="connsiteY2" fmla="*/ 196088 h 196088"/>
                    <a:gd name="connsiteX3" fmla="*/ 135092 w 135092"/>
                    <a:gd name="connsiteY3" fmla="*/ 0 h 1960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5092" h="196088">
                      <a:moveTo>
                        <a:pt x="135092" y="0"/>
                      </a:moveTo>
                      <a:lnTo>
                        <a:pt x="0" y="188239"/>
                      </a:lnTo>
                      <a:lnTo>
                        <a:pt x="58797" y="196088"/>
                      </a:lnTo>
                      <a:lnTo>
                        <a:pt x="135092" y="0"/>
                      </a:lnTo>
                      <a:close/>
                    </a:path>
                  </a:pathLst>
                </a:custGeom>
                <a:solidFill>
                  <a:srgbClr val="ED7D31"/>
                </a:solidFill>
                <a:ln w="497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7A378A7-6BE7-9ED1-B378-004F072405BE}"/>
                </a:ext>
              </a:extLst>
            </p:cNvPr>
            <p:cNvSpPr txBox="1"/>
            <p:nvPr/>
          </p:nvSpPr>
          <p:spPr>
            <a:xfrm>
              <a:off x="-1165119" y="1102650"/>
              <a:ext cx="964242" cy="50961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</a:rPr>
                <a:t>Innovation</a:t>
              </a:r>
              <a:b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</a:rPr>
                <a:t>or Region Choice!</a:t>
              </a:r>
            </a:p>
          </p:txBody>
        </p:sp>
      </p:grpSp>
      <p:sp>
        <p:nvSpPr>
          <p:cNvPr id="97" name="Rectangle 96">
            <a:extLst>
              <a:ext uri="{FF2B5EF4-FFF2-40B4-BE49-F238E27FC236}">
                <a16:creationId xmlns:a16="http://schemas.microsoft.com/office/drawing/2014/main" id="{D626185D-2112-2774-A05C-2585EC8117C9}"/>
              </a:ext>
            </a:extLst>
          </p:cNvPr>
          <p:cNvSpPr>
            <a:spLocks/>
          </p:cNvSpPr>
          <p:nvPr/>
        </p:nvSpPr>
        <p:spPr>
          <a:xfrm>
            <a:off x="4044749" y="1508109"/>
            <a:ext cx="45720" cy="2560320"/>
          </a:xfrm>
          <a:prstGeom prst="rect">
            <a:avLst/>
          </a:prstGeom>
          <a:solidFill>
            <a:srgbClr val="F7CC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41AA1AB9-8DBA-ADF8-5813-76E3E4AEA334}"/>
              </a:ext>
            </a:extLst>
          </p:cNvPr>
          <p:cNvSpPr/>
          <p:nvPr/>
        </p:nvSpPr>
        <p:spPr>
          <a:xfrm>
            <a:off x="4038924" y="315142"/>
            <a:ext cx="3504875" cy="637519"/>
          </a:xfrm>
          <a:prstGeom prst="roundRect">
            <a:avLst>
              <a:gd name="adj" fmla="val 50000"/>
            </a:avLst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defTabSz="375589">
              <a:lnSpc>
                <a:spcPct val="100000"/>
              </a:lnSpc>
              <a:spcBef>
                <a:spcPts val="660"/>
              </a:spcBef>
              <a:buNone/>
            </a:pPr>
            <a:r>
              <a:rPr lang="en-US" sz="2200" b="1" dirty="0">
                <a:solidFill>
                  <a:schemeClr val="bg1"/>
                </a:solidFill>
              </a:rPr>
              <a:t>Planogram Support</a:t>
            </a:r>
          </a:p>
        </p:txBody>
      </p:sp>
      <p:sp>
        <p:nvSpPr>
          <p:cNvPr id="100" name="Content Placeholder 3">
            <a:extLst>
              <a:ext uri="{FF2B5EF4-FFF2-40B4-BE49-F238E27FC236}">
                <a16:creationId xmlns:a16="http://schemas.microsoft.com/office/drawing/2014/main" id="{3607FDE4-4520-7D25-4760-BD22258010D0}"/>
              </a:ext>
            </a:extLst>
          </p:cNvPr>
          <p:cNvSpPr txBox="1">
            <a:spLocks/>
          </p:cNvSpPr>
          <p:nvPr/>
        </p:nvSpPr>
        <p:spPr>
          <a:xfrm>
            <a:off x="4392655" y="1141994"/>
            <a:ext cx="3403784" cy="7166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9143" indent="-169143" algn="l" defTabSz="455259" rtl="0" eaLnBrk="1" latinLnBrk="0" hangingPunct="1">
              <a:lnSpc>
                <a:spcPct val="95000"/>
              </a:lnSpc>
              <a:spcBef>
                <a:spcPts val="1200"/>
              </a:spcBef>
              <a:buFont typeface="Wingdings" charset="2"/>
              <a:buChar char="§"/>
              <a:defRPr sz="18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1pPr>
            <a:lvl2pPr marL="453673" indent="-170731" algn="l" defTabSz="455259" rtl="0" eaLnBrk="1" latinLnBrk="0" hangingPunct="1">
              <a:lnSpc>
                <a:spcPct val="95000"/>
              </a:lnSpc>
              <a:spcBef>
                <a:spcPts val="600"/>
              </a:spcBef>
              <a:buFont typeface="Calibri" panose="020F0502020204030204" pitchFamily="34" charset="0"/>
              <a:buChar char="−"/>
              <a:tabLst/>
              <a:defRPr sz="16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2pPr>
            <a:lvl3pPr marL="679716" indent="-169143" algn="l" defTabSz="455259" rtl="0" eaLnBrk="1" latinLnBrk="0" hangingPunct="1">
              <a:lnSpc>
                <a:spcPct val="90000"/>
              </a:lnSpc>
              <a:spcBef>
                <a:spcPts val="400"/>
              </a:spcBef>
              <a:buFont typeface="Arial"/>
              <a:buChar char="•"/>
              <a:defRPr sz="14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3pPr>
            <a:lvl4pPr marL="910517" indent="-113793" algn="l" defTabSz="455259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4pPr>
            <a:lvl5pPr marL="1990174" indent="-169143" algn="l" defTabSz="45525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5pPr>
            <a:lvl6pPr marL="2503892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59214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4447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69680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7558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Check out our </a:t>
            </a:r>
            <a:r>
              <a:rPr lang="en-US" sz="1600" b="1" dirty="0">
                <a:solidFill>
                  <a:srgbClr val="ED7D31"/>
                </a:solidFill>
                <a:latin typeface="+mn-lt"/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024 innovation</a:t>
            </a:r>
            <a:r>
              <a:rPr lang="en-US" sz="1600" b="1" dirty="0">
                <a:solidFill>
                  <a:srgbClr val="ED7D31"/>
                </a:solidFill>
                <a:latin typeface="+mn-lt"/>
              </a:rPr>
              <a:t> 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or visit </a:t>
            </a:r>
            <a:r>
              <a:rPr lang="en-US" sz="1600" b="1" dirty="0">
                <a:solidFill>
                  <a:srgbClr val="ED7D31"/>
                </a:solidFill>
                <a:latin typeface="+mn-lt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PepsiCoSchoolSource.com</a:t>
            </a:r>
            <a:r>
              <a:rPr lang="en-US" sz="1600" b="1" dirty="0">
                <a:solidFill>
                  <a:srgbClr val="ED7D31"/>
                </a:solidFill>
                <a:latin typeface="+mn-lt"/>
              </a:rPr>
              <a:t> 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to select other regional favorites</a:t>
            </a:r>
          </a:p>
        </p:txBody>
      </p:sp>
      <p:sp>
        <p:nvSpPr>
          <p:cNvPr id="102" name="Content Placeholder 3">
            <a:extLst>
              <a:ext uri="{FF2B5EF4-FFF2-40B4-BE49-F238E27FC236}">
                <a16:creationId xmlns:a16="http://schemas.microsoft.com/office/drawing/2014/main" id="{BC054B86-9BFD-4895-9ABB-BE10D5F6CA59}"/>
              </a:ext>
            </a:extLst>
          </p:cNvPr>
          <p:cNvSpPr txBox="1">
            <a:spLocks/>
          </p:cNvSpPr>
          <p:nvPr/>
        </p:nvSpPr>
        <p:spPr>
          <a:xfrm>
            <a:off x="4392655" y="3064181"/>
            <a:ext cx="3280492" cy="163121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9143" indent="-169143" algn="l" defTabSz="455259" rtl="0" eaLnBrk="1" latinLnBrk="0" hangingPunct="1">
              <a:lnSpc>
                <a:spcPct val="95000"/>
              </a:lnSpc>
              <a:spcBef>
                <a:spcPts val="1200"/>
              </a:spcBef>
              <a:buFont typeface="Wingdings" charset="2"/>
              <a:buChar char="§"/>
              <a:defRPr sz="18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1pPr>
            <a:lvl2pPr marL="453673" indent="-170731" algn="l" defTabSz="455259" rtl="0" eaLnBrk="1" latinLnBrk="0" hangingPunct="1">
              <a:lnSpc>
                <a:spcPct val="95000"/>
              </a:lnSpc>
              <a:spcBef>
                <a:spcPts val="600"/>
              </a:spcBef>
              <a:buFont typeface="Calibri" panose="020F0502020204030204" pitchFamily="34" charset="0"/>
              <a:buChar char="−"/>
              <a:tabLst/>
              <a:defRPr sz="16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2pPr>
            <a:lvl3pPr marL="679716" indent="-169143" algn="l" defTabSz="455259" rtl="0" eaLnBrk="1" latinLnBrk="0" hangingPunct="1">
              <a:lnSpc>
                <a:spcPct val="90000"/>
              </a:lnSpc>
              <a:spcBef>
                <a:spcPts val="400"/>
              </a:spcBef>
              <a:buFont typeface="Arial"/>
              <a:buChar char="•"/>
              <a:defRPr sz="14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3pPr>
            <a:lvl4pPr marL="910517" indent="-113793" algn="l" defTabSz="455259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4pPr>
            <a:lvl5pPr marL="1990174" indent="-169143" algn="l" defTabSz="45525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5pPr>
            <a:lvl6pPr marL="2503892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59214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4447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69680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7558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For custom planograms contact your </a:t>
            </a:r>
            <a:r>
              <a:rPr lang="en-US" sz="1600" b="1" dirty="0">
                <a:solidFill>
                  <a:srgbClr val="ED7D31"/>
                </a:solidFill>
                <a:latin typeface="+mn-lt"/>
              </a:rPr>
              <a:t>PepsiCo Sales Representative 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or </a:t>
            </a:r>
            <a:r>
              <a:rPr lang="en-US" sz="1600" b="1" dirty="0">
                <a:solidFill>
                  <a:srgbClr val="ED7D31"/>
                </a:solidFill>
                <a:latin typeface="+mn-lt"/>
              </a:rPr>
              <a:t>visit our website 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to reach out for support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ADF004A-BE1C-B2E9-F7DD-A8E4BCF9480A}"/>
              </a:ext>
            </a:extLst>
          </p:cNvPr>
          <p:cNvGrpSpPr/>
          <p:nvPr/>
        </p:nvGrpSpPr>
        <p:grpSpPr>
          <a:xfrm>
            <a:off x="3883017" y="1221577"/>
            <a:ext cx="369184" cy="369184"/>
            <a:chOff x="389255" y="2209914"/>
            <a:chExt cx="199390" cy="199390"/>
          </a:xfrm>
        </p:grpSpPr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916B46AF-526C-5636-FAF9-9E887C745A7C}"/>
                </a:ext>
              </a:extLst>
            </p:cNvPr>
            <p:cNvSpPr/>
            <p:nvPr/>
          </p:nvSpPr>
          <p:spPr>
            <a:xfrm>
              <a:off x="389255" y="2209914"/>
              <a:ext cx="199390" cy="19939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D7D31"/>
              </a:solidFill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05" name="Isosceles Triangle 104">
              <a:extLst>
                <a:ext uri="{FF2B5EF4-FFF2-40B4-BE49-F238E27FC236}">
                  <a16:creationId xmlns:a16="http://schemas.microsoft.com/office/drawing/2014/main" id="{B913F3F5-9BF8-EEF0-C792-91BD1FE86482}"/>
                </a:ext>
              </a:extLst>
            </p:cNvPr>
            <p:cNvSpPr/>
            <p:nvPr/>
          </p:nvSpPr>
          <p:spPr>
            <a:xfrm rot="5400000">
              <a:off x="444772" y="2259208"/>
              <a:ext cx="116930" cy="100802"/>
            </a:xfrm>
            <a:prstGeom prst="triangle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48D421A7-937B-870F-CFD5-C1CEA654A975}"/>
              </a:ext>
            </a:extLst>
          </p:cNvPr>
          <p:cNvGrpSpPr/>
          <p:nvPr/>
        </p:nvGrpSpPr>
        <p:grpSpPr>
          <a:xfrm>
            <a:off x="3883017" y="3697537"/>
            <a:ext cx="369184" cy="369184"/>
            <a:chOff x="389255" y="2209914"/>
            <a:chExt cx="199390" cy="199390"/>
          </a:xfrm>
        </p:grpSpPr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3B84C79A-EEB4-FFF9-82D7-71EA3E9BED29}"/>
                </a:ext>
              </a:extLst>
            </p:cNvPr>
            <p:cNvSpPr/>
            <p:nvPr/>
          </p:nvSpPr>
          <p:spPr>
            <a:xfrm>
              <a:off x="389255" y="2209914"/>
              <a:ext cx="199390" cy="19939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D7D31"/>
              </a:solidFill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1" name="Isosceles Triangle 110">
              <a:extLst>
                <a:ext uri="{FF2B5EF4-FFF2-40B4-BE49-F238E27FC236}">
                  <a16:creationId xmlns:a16="http://schemas.microsoft.com/office/drawing/2014/main" id="{DD379C2A-53AF-1F3A-1FEE-BBFC840EA32E}"/>
                </a:ext>
              </a:extLst>
            </p:cNvPr>
            <p:cNvSpPr/>
            <p:nvPr/>
          </p:nvSpPr>
          <p:spPr>
            <a:xfrm rot="5400000">
              <a:off x="444772" y="2259208"/>
              <a:ext cx="116930" cy="100802"/>
            </a:xfrm>
            <a:prstGeom prst="triangle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C5C791C3-9C81-9305-E0FF-75D41C816932}"/>
              </a:ext>
            </a:extLst>
          </p:cNvPr>
          <p:cNvCxnSpPr>
            <a:cxnSpLocks/>
          </p:cNvCxnSpPr>
          <p:nvPr/>
        </p:nvCxnSpPr>
        <p:spPr>
          <a:xfrm>
            <a:off x="4579346" y="2575343"/>
            <a:ext cx="2886075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37967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7" name="think-cell data - do not delete" hidden="1">
            <a:extLst>
              <a:ext uri="{FF2B5EF4-FFF2-40B4-BE49-F238E27FC236}">
                <a16:creationId xmlns:a16="http://schemas.microsoft.com/office/drawing/2014/main" id="{8944A60B-E096-CB8F-1A08-FF95D68E49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4A60B-E096-CB8F-1A08-FF95D68E49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61E12562-70DD-2D2B-E169-B77AB9D12683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73" r="103" b="30673"/>
          <a:stretch/>
        </p:blipFill>
        <p:spPr>
          <a:xfrm>
            <a:off x="0" y="0"/>
            <a:ext cx="7772400" cy="172218"/>
          </a:xfrm>
          <a:custGeom>
            <a:avLst/>
            <a:gdLst>
              <a:gd name="connsiteX0" fmla="*/ 0 w 7772400"/>
              <a:gd name="connsiteY0" fmla="*/ 0 h 172218"/>
              <a:gd name="connsiteX1" fmla="*/ 7772400 w 7772400"/>
              <a:gd name="connsiteY1" fmla="*/ 0 h 172218"/>
              <a:gd name="connsiteX2" fmla="*/ 7772400 w 7772400"/>
              <a:gd name="connsiteY2" fmla="*/ 172218 h 172218"/>
              <a:gd name="connsiteX3" fmla="*/ 0 w 7772400"/>
              <a:gd name="connsiteY3" fmla="*/ 172218 h 172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72400" h="172218">
                <a:moveTo>
                  <a:pt x="0" y="0"/>
                </a:moveTo>
                <a:lnTo>
                  <a:pt x="7772400" y="0"/>
                </a:lnTo>
                <a:lnTo>
                  <a:pt x="7772400" y="172218"/>
                </a:lnTo>
                <a:lnTo>
                  <a:pt x="0" y="172218"/>
                </a:lnTo>
                <a:close/>
              </a:path>
            </a:pathLst>
          </a:custGeom>
        </p:spPr>
      </p:pic>
      <p:graphicFrame>
        <p:nvGraphicFramePr>
          <p:cNvPr id="98" name="Table 6">
            <a:extLst>
              <a:ext uri="{FF2B5EF4-FFF2-40B4-BE49-F238E27FC236}">
                <a16:creationId xmlns:a16="http://schemas.microsoft.com/office/drawing/2014/main" id="{9865BB38-DA3F-09A1-1887-29C2E02F83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4817121"/>
              </p:ext>
            </p:extLst>
          </p:nvPr>
        </p:nvGraphicFramePr>
        <p:xfrm>
          <a:off x="1" y="4715685"/>
          <a:ext cx="7772399" cy="5165101"/>
        </p:xfrm>
        <a:graphic>
          <a:graphicData uri="http://schemas.openxmlformats.org/drawingml/2006/table">
            <a:tbl>
              <a:tblPr/>
              <a:tblGrid>
                <a:gridCol w="3055243">
                  <a:extLst>
                    <a:ext uri="{9D8B030D-6E8A-4147-A177-3AD203B41FA5}">
                      <a16:colId xmlns:a16="http://schemas.microsoft.com/office/drawing/2014/main" val="2286909278"/>
                    </a:ext>
                  </a:extLst>
                </a:gridCol>
                <a:gridCol w="737939">
                  <a:extLst>
                    <a:ext uri="{9D8B030D-6E8A-4147-A177-3AD203B41FA5}">
                      <a16:colId xmlns:a16="http://schemas.microsoft.com/office/drawing/2014/main" val="3575990395"/>
                    </a:ext>
                  </a:extLst>
                </a:gridCol>
                <a:gridCol w="737939">
                  <a:extLst>
                    <a:ext uri="{9D8B030D-6E8A-4147-A177-3AD203B41FA5}">
                      <a16:colId xmlns:a16="http://schemas.microsoft.com/office/drawing/2014/main" val="1108978038"/>
                    </a:ext>
                  </a:extLst>
                </a:gridCol>
                <a:gridCol w="1018414">
                  <a:extLst>
                    <a:ext uri="{9D8B030D-6E8A-4147-A177-3AD203B41FA5}">
                      <a16:colId xmlns:a16="http://schemas.microsoft.com/office/drawing/2014/main" val="2948457908"/>
                    </a:ext>
                  </a:extLst>
                </a:gridCol>
                <a:gridCol w="1203581">
                  <a:extLst>
                    <a:ext uri="{9D8B030D-6E8A-4147-A177-3AD203B41FA5}">
                      <a16:colId xmlns:a16="http://schemas.microsoft.com/office/drawing/2014/main" val="2772147080"/>
                    </a:ext>
                  </a:extLst>
                </a:gridCol>
                <a:gridCol w="1019283">
                  <a:extLst>
                    <a:ext uri="{9D8B030D-6E8A-4147-A177-3AD203B41FA5}">
                      <a16:colId xmlns:a16="http://schemas.microsoft.com/office/drawing/2014/main" val="688542143"/>
                    </a:ext>
                  </a:extLst>
                </a:gridCol>
              </a:tblGrid>
              <a:tr h="587837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Product Name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6539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Oz </a:t>
                      </a:r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Wt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6539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Case Pack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6539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Meal Component (per serving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6539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Case GTIN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6539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Distributor Code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653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584250"/>
                  </a:ext>
                </a:extLst>
              </a:tr>
              <a:tr h="274386">
                <a:tc gridSpan="6"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                     ON THE TRAY OR A LA CARTE</a:t>
                      </a:r>
                    </a:p>
                  </a:txBody>
                  <a:tcPr marL="4572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8A5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30553731"/>
                  </a:ext>
                </a:extLst>
              </a:tr>
              <a:tr h="399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Tostitos® Mild Mini Salsa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3.0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68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½ cup VEG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748513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9160890"/>
                  </a:ext>
                </a:extLst>
              </a:tr>
              <a:tr h="399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Baked Tostitos® Scoops Whole Grain Rich Tortilla Chips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875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.25 OEG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425377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8316489"/>
                  </a:ext>
                </a:extLst>
              </a:tr>
              <a:tr h="402346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Rold Gold® Heartzels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7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0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 OEG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159401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2718532"/>
                  </a:ext>
                </a:extLst>
              </a:tr>
              <a:tr h="4023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Doritos® Reduced Fat Wild White Nacho Flavored Tortilla Chips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.5 OEG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67609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2286642"/>
                  </a:ext>
                </a:extLst>
              </a:tr>
              <a:tr h="399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Tostitos® Reduced Fat Crispy Rounds Tortilla Chips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 OEG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443807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9844611"/>
                  </a:ext>
                </a:extLst>
              </a:tr>
              <a:tr h="399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Smartfood® Reduced Fat White Cheddar Popcorn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5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25 OEG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11130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1310930"/>
                  </a:ext>
                </a:extLst>
              </a:tr>
              <a:tr h="304186"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A LA CARTE ONLY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1173796"/>
                  </a:ext>
                </a:extLst>
              </a:tr>
              <a:tr h="399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Lay’s® Kettle 40% Reduced Fat Original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.375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25115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858585"/>
                  </a:ext>
                </a:extLst>
              </a:tr>
              <a:tr h="399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Baked Lay’s® Salt &amp; Vinegar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875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748476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8231045"/>
                  </a:ext>
                </a:extLst>
              </a:tr>
              <a:tr h="399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Baked Lay’s® BBQ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875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320788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6810885"/>
                  </a:ext>
                </a:extLst>
              </a:tr>
              <a:tr h="3992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Baked Lay’s® Original</a:t>
                      </a:r>
                    </a:p>
                  </a:txBody>
                  <a:tcPr marL="685800" marR="4572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875oz.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0028400336253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editable field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851009"/>
                  </a:ext>
                </a:extLst>
              </a:tr>
            </a:tbl>
          </a:graphicData>
        </a:graphic>
      </p:graphicFrame>
      <p:pic>
        <p:nvPicPr>
          <p:cNvPr id="9" name="Picture 8" descr="A small container of salsa&#10;&#10;Description automatically generated">
            <a:extLst>
              <a:ext uri="{FF2B5EF4-FFF2-40B4-BE49-F238E27FC236}">
                <a16:creationId xmlns:a16="http://schemas.microsoft.com/office/drawing/2014/main" id="{F909F9B1-423B-3116-B85C-5ADB1234E7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5804" y="5614494"/>
            <a:ext cx="336600" cy="33389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AB831DD-1506-2B7D-D015-C838BE1059CD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9236" r="9236"/>
          <a:stretch/>
        </p:blipFill>
        <p:spPr>
          <a:xfrm>
            <a:off x="198020" y="6000498"/>
            <a:ext cx="292168" cy="35836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01C0E01-0ADC-F97C-ECFD-3C87636C021B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8006" r="8006"/>
          <a:stretch/>
        </p:blipFill>
        <p:spPr>
          <a:xfrm>
            <a:off x="200264" y="9525832"/>
            <a:ext cx="287680" cy="34252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60ED16B-7007-7293-7C7B-F2AB53A7C33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2907" y="9111030"/>
            <a:ext cx="362394" cy="35999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70ED7C9-B27F-B830-376C-B3437AA257BD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73" r="103" b="30673"/>
          <a:stretch/>
        </p:blipFill>
        <p:spPr>
          <a:xfrm>
            <a:off x="-1" y="9886182"/>
            <a:ext cx="7772400" cy="172218"/>
          </a:xfrm>
          <a:custGeom>
            <a:avLst/>
            <a:gdLst>
              <a:gd name="connsiteX0" fmla="*/ 0 w 7772400"/>
              <a:gd name="connsiteY0" fmla="*/ 0 h 172218"/>
              <a:gd name="connsiteX1" fmla="*/ 7772400 w 7772400"/>
              <a:gd name="connsiteY1" fmla="*/ 0 h 172218"/>
              <a:gd name="connsiteX2" fmla="*/ 7772400 w 7772400"/>
              <a:gd name="connsiteY2" fmla="*/ 172218 h 172218"/>
              <a:gd name="connsiteX3" fmla="*/ 0 w 7772400"/>
              <a:gd name="connsiteY3" fmla="*/ 172218 h 172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72400" h="172218">
                <a:moveTo>
                  <a:pt x="0" y="0"/>
                </a:moveTo>
                <a:lnTo>
                  <a:pt x="7772400" y="0"/>
                </a:lnTo>
                <a:lnTo>
                  <a:pt x="7772400" y="172218"/>
                </a:lnTo>
                <a:lnTo>
                  <a:pt x="0" y="172218"/>
                </a:lnTo>
                <a:close/>
              </a:path>
            </a:pathLst>
          </a:cu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2F99FAA-08CE-AC5C-E7E7-E2AC834F9E92}"/>
              </a:ext>
            </a:extLst>
          </p:cNvPr>
          <p:cNvSpPr>
            <a:spLocks/>
          </p:cNvSpPr>
          <p:nvPr/>
        </p:nvSpPr>
        <p:spPr>
          <a:xfrm>
            <a:off x="-1" y="172218"/>
            <a:ext cx="7772400" cy="45380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F2CF62-1CCF-3AD9-EB4B-116415A3E73B}"/>
              </a:ext>
            </a:extLst>
          </p:cNvPr>
          <p:cNvSpPr>
            <a:spLocks/>
          </p:cNvSpPr>
          <p:nvPr/>
        </p:nvSpPr>
        <p:spPr>
          <a:xfrm>
            <a:off x="3643311" y="653805"/>
            <a:ext cx="4129088" cy="4056484"/>
          </a:xfrm>
          <a:prstGeom prst="rect">
            <a:avLst/>
          </a:prstGeom>
          <a:solidFill>
            <a:srgbClr val="FBE5D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305164E-D78B-372D-A825-9D5F58BD8142}"/>
              </a:ext>
            </a:extLst>
          </p:cNvPr>
          <p:cNvCxnSpPr>
            <a:cxnSpLocks/>
          </p:cNvCxnSpPr>
          <p:nvPr/>
        </p:nvCxnSpPr>
        <p:spPr>
          <a:xfrm flipH="1">
            <a:off x="3643311" y="653804"/>
            <a:ext cx="4129088" cy="0"/>
          </a:xfrm>
          <a:prstGeom prst="line">
            <a:avLst/>
          </a:prstGeom>
          <a:ln w="19050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D626185D-2112-2774-A05C-2585EC8117C9}"/>
              </a:ext>
            </a:extLst>
          </p:cNvPr>
          <p:cNvSpPr>
            <a:spLocks/>
          </p:cNvSpPr>
          <p:nvPr/>
        </p:nvSpPr>
        <p:spPr>
          <a:xfrm>
            <a:off x="4162316" y="1508109"/>
            <a:ext cx="45720" cy="2560320"/>
          </a:xfrm>
          <a:prstGeom prst="rect">
            <a:avLst/>
          </a:prstGeom>
          <a:solidFill>
            <a:srgbClr val="F7CC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41AA1AB9-8DBA-ADF8-5813-76E3E4AEA334}"/>
              </a:ext>
            </a:extLst>
          </p:cNvPr>
          <p:cNvSpPr/>
          <p:nvPr/>
        </p:nvSpPr>
        <p:spPr>
          <a:xfrm>
            <a:off x="4038924" y="315142"/>
            <a:ext cx="3504875" cy="637519"/>
          </a:xfrm>
          <a:prstGeom prst="roundRect">
            <a:avLst>
              <a:gd name="adj" fmla="val 50000"/>
            </a:avLst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5589" eaLnBrk="1" fontAlgn="auto" latinLnBrk="0" hangingPunct="1">
              <a:lnSpc>
                <a:spcPct val="100000"/>
              </a:lnSpc>
              <a:spcBef>
                <a:spcPts val="6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lanogram Guardrails</a:t>
            </a:r>
          </a:p>
        </p:txBody>
      </p:sp>
      <p:sp>
        <p:nvSpPr>
          <p:cNvPr id="100" name="Content Placeholder 3">
            <a:extLst>
              <a:ext uri="{FF2B5EF4-FFF2-40B4-BE49-F238E27FC236}">
                <a16:creationId xmlns:a16="http://schemas.microsoft.com/office/drawing/2014/main" id="{3607FDE4-4520-7D25-4760-BD22258010D0}"/>
              </a:ext>
            </a:extLst>
          </p:cNvPr>
          <p:cNvSpPr txBox="1">
            <a:spLocks/>
          </p:cNvSpPr>
          <p:nvPr/>
        </p:nvSpPr>
        <p:spPr>
          <a:xfrm>
            <a:off x="4562474" y="1141994"/>
            <a:ext cx="2794635" cy="7166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9143" indent="-169143" algn="l" defTabSz="455259" rtl="0" eaLnBrk="1" latinLnBrk="0" hangingPunct="1">
              <a:lnSpc>
                <a:spcPct val="95000"/>
              </a:lnSpc>
              <a:spcBef>
                <a:spcPts val="1200"/>
              </a:spcBef>
              <a:buFont typeface="Wingdings" charset="2"/>
              <a:buChar char="§"/>
              <a:defRPr sz="18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1pPr>
            <a:lvl2pPr marL="453673" indent="-170731" algn="l" defTabSz="455259" rtl="0" eaLnBrk="1" latinLnBrk="0" hangingPunct="1">
              <a:lnSpc>
                <a:spcPct val="95000"/>
              </a:lnSpc>
              <a:spcBef>
                <a:spcPts val="600"/>
              </a:spcBef>
              <a:buFont typeface="Calibri" panose="020F0502020204030204" pitchFamily="34" charset="0"/>
              <a:buChar char="−"/>
              <a:tabLst/>
              <a:defRPr sz="16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2pPr>
            <a:lvl3pPr marL="679716" indent="-169143" algn="l" defTabSz="455259" rtl="0" eaLnBrk="1" latinLnBrk="0" hangingPunct="1">
              <a:lnSpc>
                <a:spcPct val="90000"/>
              </a:lnSpc>
              <a:spcBef>
                <a:spcPts val="400"/>
              </a:spcBef>
              <a:buFont typeface="Arial"/>
              <a:buChar char="•"/>
              <a:defRPr sz="14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3pPr>
            <a:lvl4pPr marL="910517" indent="-113793" algn="l" defTabSz="455259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4pPr>
            <a:lvl5pPr marL="1990174" indent="-169143" algn="l" defTabSz="45525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5pPr>
            <a:lvl6pPr marL="2503892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59214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4447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69680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755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Helvetica"/>
              </a:rPr>
              <a:t>Merchandise no fewer than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venir Next LT Pro"/>
                <a:ea typeface="+mn-ea"/>
                <a:cs typeface="Helvetica"/>
              </a:rPr>
              <a:t>2 facings per SKU</a:t>
            </a:r>
          </a:p>
        </p:txBody>
      </p:sp>
      <p:sp>
        <p:nvSpPr>
          <p:cNvPr id="101" name="Content Placeholder 3">
            <a:extLst>
              <a:ext uri="{FF2B5EF4-FFF2-40B4-BE49-F238E27FC236}">
                <a16:creationId xmlns:a16="http://schemas.microsoft.com/office/drawing/2014/main" id="{6FEB65C7-4E9C-4DBD-099C-3994CBC11333}"/>
              </a:ext>
            </a:extLst>
          </p:cNvPr>
          <p:cNvSpPr txBox="1">
            <a:spLocks/>
          </p:cNvSpPr>
          <p:nvPr/>
        </p:nvSpPr>
        <p:spPr>
          <a:xfrm>
            <a:off x="4562474" y="2198117"/>
            <a:ext cx="2981326" cy="132343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9143" indent="-169143" algn="l" defTabSz="455259" rtl="0" eaLnBrk="1" latinLnBrk="0" hangingPunct="1">
              <a:lnSpc>
                <a:spcPct val="95000"/>
              </a:lnSpc>
              <a:spcBef>
                <a:spcPts val="1200"/>
              </a:spcBef>
              <a:buFont typeface="Wingdings" charset="2"/>
              <a:buChar char="§"/>
              <a:defRPr sz="18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1pPr>
            <a:lvl2pPr marL="453673" indent="-170731" algn="l" defTabSz="455259" rtl="0" eaLnBrk="1" latinLnBrk="0" hangingPunct="1">
              <a:lnSpc>
                <a:spcPct val="95000"/>
              </a:lnSpc>
              <a:spcBef>
                <a:spcPts val="600"/>
              </a:spcBef>
              <a:buFont typeface="Calibri" panose="020F0502020204030204" pitchFamily="34" charset="0"/>
              <a:buChar char="−"/>
              <a:tabLst/>
              <a:defRPr sz="16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2pPr>
            <a:lvl3pPr marL="679716" indent="-169143" algn="l" defTabSz="455259" rtl="0" eaLnBrk="1" latinLnBrk="0" hangingPunct="1">
              <a:lnSpc>
                <a:spcPct val="90000"/>
              </a:lnSpc>
              <a:spcBef>
                <a:spcPts val="400"/>
              </a:spcBef>
              <a:buFont typeface="Arial"/>
              <a:buChar char="•"/>
              <a:defRPr sz="14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3pPr>
            <a:lvl4pPr marL="910517" indent="-113793" algn="l" defTabSz="455259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4pPr>
            <a:lvl5pPr marL="1990174" indent="-169143" algn="l" defTabSz="45525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5pPr>
            <a:lvl6pPr marL="2503892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59214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4447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69680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755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Helvetica"/>
              </a:rPr>
              <a:t>Group “like” items (potato chips, tortilla chips, etc.) and brands together in blocks</a:t>
            </a:r>
          </a:p>
        </p:txBody>
      </p:sp>
      <p:sp>
        <p:nvSpPr>
          <p:cNvPr id="102" name="Content Placeholder 3">
            <a:extLst>
              <a:ext uri="{FF2B5EF4-FFF2-40B4-BE49-F238E27FC236}">
                <a16:creationId xmlns:a16="http://schemas.microsoft.com/office/drawing/2014/main" id="{BC054B86-9BFD-4895-9ABB-BE10D5F6CA59}"/>
              </a:ext>
            </a:extLst>
          </p:cNvPr>
          <p:cNvSpPr txBox="1">
            <a:spLocks/>
          </p:cNvSpPr>
          <p:nvPr/>
        </p:nvSpPr>
        <p:spPr>
          <a:xfrm>
            <a:off x="4562474" y="3377691"/>
            <a:ext cx="2981326" cy="163121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9143" indent="-169143" algn="l" defTabSz="455259" rtl="0" eaLnBrk="1" latinLnBrk="0" hangingPunct="1">
              <a:lnSpc>
                <a:spcPct val="95000"/>
              </a:lnSpc>
              <a:spcBef>
                <a:spcPts val="1200"/>
              </a:spcBef>
              <a:buFont typeface="Wingdings" charset="2"/>
              <a:buChar char="§"/>
              <a:defRPr sz="18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1pPr>
            <a:lvl2pPr marL="453673" indent="-170731" algn="l" defTabSz="455259" rtl="0" eaLnBrk="1" latinLnBrk="0" hangingPunct="1">
              <a:lnSpc>
                <a:spcPct val="95000"/>
              </a:lnSpc>
              <a:spcBef>
                <a:spcPts val="600"/>
              </a:spcBef>
              <a:buFont typeface="Calibri" panose="020F0502020204030204" pitchFamily="34" charset="0"/>
              <a:buChar char="−"/>
              <a:tabLst/>
              <a:defRPr sz="16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2pPr>
            <a:lvl3pPr marL="679716" indent="-169143" algn="l" defTabSz="455259" rtl="0" eaLnBrk="1" latinLnBrk="0" hangingPunct="1">
              <a:lnSpc>
                <a:spcPct val="90000"/>
              </a:lnSpc>
              <a:spcBef>
                <a:spcPts val="400"/>
              </a:spcBef>
              <a:buFont typeface="Arial"/>
              <a:buChar char="•"/>
              <a:defRPr sz="14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3pPr>
            <a:lvl4pPr marL="910517" indent="-113793" algn="l" defTabSz="455259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4pPr>
            <a:lvl5pPr marL="1990174" indent="-169143" algn="l" defTabSz="45525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5pPr>
            <a:lvl6pPr marL="2503892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59214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4447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69680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755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Helvetica"/>
              </a:rPr>
              <a:t>Place best-selling SKUs at eye-level and featured innovation at the top or within a brand block 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ADF004A-BE1C-B2E9-F7DD-A8E4BCF9480A}"/>
              </a:ext>
            </a:extLst>
          </p:cNvPr>
          <p:cNvGrpSpPr/>
          <p:nvPr/>
        </p:nvGrpSpPr>
        <p:grpSpPr>
          <a:xfrm>
            <a:off x="4000584" y="1221577"/>
            <a:ext cx="369184" cy="369184"/>
            <a:chOff x="389255" y="2209914"/>
            <a:chExt cx="199390" cy="199390"/>
          </a:xfrm>
        </p:grpSpPr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916B46AF-526C-5636-FAF9-9E887C745A7C}"/>
                </a:ext>
              </a:extLst>
            </p:cNvPr>
            <p:cNvSpPr/>
            <p:nvPr/>
          </p:nvSpPr>
          <p:spPr>
            <a:xfrm>
              <a:off x="389255" y="2209914"/>
              <a:ext cx="199390" cy="19939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D7D31"/>
              </a:solidFill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105" name="Isosceles Triangle 104">
              <a:extLst>
                <a:ext uri="{FF2B5EF4-FFF2-40B4-BE49-F238E27FC236}">
                  <a16:creationId xmlns:a16="http://schemas.microsoft.com/office/drawing/2014/main" id="{B913F3F5-9BF8-EEF0-C792-91BD1FE86482}"/>
                </a:ext>
              </a:extLst>
            </p:cNvPr>
            <p:cNvSpPr/>
            <p:nvPr/>
          </p:nvSpPr>
          <p:spPr>
            <a:xfrm rot="5400000">
              <a:off x="444772" y="2259208"/>
              <a:ext cx="116930" cy="100802"/>
            </a:xfrm>
            <a:prstGeom prst="triangle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B136351-AE91-E6EA-1078-4287491DB7D0}"/>
              </a:ext>
            </a:extLst>
          </p:cNvPr>
          <p:cNvGrpSpPr/>
          <p:nvPr/>
        </p:nvGrpSpPr>
        <p:grpSpPr>
          <a:xfrm>
            <a:off x="4000584" y="2278848"/>
            <a:ext cx="369184" cy="369184"/>
            <a:chOff x="389255" y="2209914"/>
            <a:chExt cx="199390" cy="199390"/>
          </a:xfrm>
        </p:grpSpPr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17CD9E81-6A5F-0C5E-DE2D-6BE8FF0F0A6F}"/>
                </a:ext>
              </a:extLst>
            </p:cNvPr>
            <p:cNvSpPr/>
            <p:nvPr/>
          </p:nvSpPr>
          <p:spPr>
            <a:xfrm>
              <a:off x="389255" y="2209914"/>
              <a:ext cx="199390" cy="19939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D7D31"/>
              </a:solidFill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108" name="Isosceles Triangle 107">
              <a:extLst>
                <a:ext uri="{FF2B5EF4-FFF2-40B4-BE49-F238E27FC236}">
                  <a16:creationId xmlns:a16="http://schemas.microsoft.com/office/drawing/2014/main" id="{3EE798E3-CA88-ABC4-B58D-B9EA4FB6ABB4}"/>
                </a:ext>
              </a:extLst>
            </p:cNvPr>
            <p:cNvSpPr/>
            <p:nvPr/>
          </p:nvSpPr>
          <p:spPr>
            <a:xfrm rot="5400000">
              <a:off x="444772" y="2259208"/>
              <a:ext cx="116930" cy="100802"/>
            </a:xfrm>
            <a:prstGeom prst="triangle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48D421A7-937B-870F-CFD5-C1CEA654A975}"/>
              </a:ext>
            </a:extLst>
          </p:cNvPr>
          <p:cNvGrpSpPr/>
          <p:nvPr/>
        </p:nvGrpSpPr>
        <p:grpSpPr>
          <a:xfrm>
            <a:off x="4000584" y="3697537"/>
            <a:ext cx="369184" cy="369184"/>
            <a:chOff x="389255" y="2209914"/>
            <a:chExt cx="199390" cy="199390"/>
          </a:xfrm>
        </p:grpSpPr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3B84C79A-EEB4-FFF9-82D7-71EA3E9BED29}"/>
                </a:ext>
              </a:extLst>
            </p:cNvPr>
            <p:cNvSpPr/>
            <p:nvPr/>
          </p:nvSpPr>
          <p:spPr>
            <a:xfrm>
              <a:off x="389255" y="2209914"/>
              <a:ext cx="199390" cy="19939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D7D31"/>
              </a:solidFill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  <p:sp>
          <p:nvSpPr>
            <p:cNvPr id="111" name="Isosceles Triangle 110">
              <a:extLst>
                <a:ext uri="{FF2B5EF4-FFF2-40B4-BE49-F238E27FC236}">
                  <a16:creationId xmlns:a16="http://schemas.microsoft.com/office/drawing/2014/main" id="{DD379C2A-53AF-1F3A-1FEE-BBFC840EA32E}"/>
                </a:ext>
              </a:extLst>
            </p:cNvPr>
            <p:cNvSpPr/>
            <p:nvPr/>
          </p:nvSpPr>
          <p:spPr>
            <a:xfrm rot="5400000">
              <a:off x="444772" y="2259208"/>
              <a:ext cx="116930" cy="100802"/>
            </a:xfrm>
            <a:prstGeom prst="triangle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endParaRPr>
            </a:p>
          </p:txBody>
        </p:sp>
      </p:grp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C5C791C3-9C81-9305-E0FF-75D41C816932}"/>
              </a:ext>
            </a:extLst>
          </p:cNvPr>
          <p:cNvCxnSpPr>
            <a:cxnSpLocks/>
          </p:cNvCxnSpPr>
          <p:nvPr/>
        </p:nvCxnSpPr>
        <p:spPr>
          <a:xfrm>
            <a:off x="4667249" y="1976142"/>
            <a:ext cx="2886075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7444CF85-A65A-7C16-9D4C-93AE35FA0EAF}"/>
              </a:ext>
            </a:extLst>
          </p:cNvPr>
          <p:cNvCxnSpPr>
            <a:cxnSpLocks/>
          </p:cNvCxnSpPr>
          <p:nvPr/>
        </p:nvCxnSpPr>
        <p:spPr>
          <a:xfrm>
            <a:off x="4667249" y="3207963"/>
            <a:ext cx="2886075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85D18326-D444-A418-A1EE-557D798DAAE9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119" b="119"/>
          <a:stretch/>
        </p:blipFill>
        <p:spPr>
          <a:xfrm>
            <a:off x="345248" y="181094"/>
            <a:ext cx="3016264" cy="453807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5250214-766E-E1C9-8889-8D04AA332E4F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23841" t="26647" r="25881" b="33202"/>
          <a:stretch/>
        </p:blipFill>
        <p:spPr>
          <a:xfrm>
            <a:off x="197852" y="8713622"/>
            <a:ext cx="292504" cy="3426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34D8B82-D1BD-6F04-5899-3BDA7A636AEF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l="10551" r="10551"/>
          <a:stretch/>
        </p:blipFill>
        <p:spPr>
          <a:xfrm>
            <a:off x="208424" y="8303148"/>
            <a:ext cx="271360" cy="343932"/>
          </a:xfrm>
          <a:prstGeom prst="rect">
            <a:avLst/>
          </a:prstGeom>
        </p:spPr>
      </p:pic>
      <p:pic>
        <p:nvPicPr>
          <p:cNvPr id="10" name="Picture 9" descr="A bag of pretzels&#10;&#10;Description automatically generated">
            <a:extLst>
              <a:ext uri="{FF2B5EF4-FFF2-40B4-BE49-F238E27FC236}">
                <a16:creationId xmlns:a16="http://schemas.microsoft.com/office/drawing/2014/main" id="{8FFEFA2E-C9EA-7609-0AC0-8295107DEDF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88266" y="6433096"/>
            <a:ext cx="311676" cy="31167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1B3A54B-47AB-1333-A14B-9F35FA60C505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l="9069" r="9069"/>
          <a:stretch/>
        </p:blipFill>
        <p:spPr>
          <a:xfrm>
            <a:off x="204735" y="7213770"/>
            <a:ext cx="278738" cy="340491"/>
          </a:xfrm>
          <a:prstGeom prst="rect">
            <a:avLst/>
          </a:prstGeom>
        </p:spPr>
      </p:pic>
      <p:pic>
        <p:nvPicPr>
          <p:cNvPr id="12" name="Picture 11" descr="A bag of popcorn with a yellow and white label&#10;&#10;Description automatically generated">
            <a:extLst>
              <a:ext uri="{FF2B5EF4-FFF2-40B4-BE49-F238E27FC236}">
                <a16:creationId xmlns:a16="http://schemas.microsoft.com/office/drawing/2014/main" id="{18B54486-B7A5-FB0C-0672-0E82DB9DF0B9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l="5862" r="5862"/>
          <a:stretch/>
        </p:blipFill>
        <p:spPr>
          <a:xfrm>
            <a:off x="188494" y="7601194"/>
            <a:ext cx="311220" cy="35255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8D95630-2C41-1BDA-BA5E-160B3BC712A7}"/>
              </a:ext>
            </a:extLst>
          </p:cNvPr>
          <p:cNvPicPr>
            <a:picLocks noChangeAspect="1"/>
          </p:cNvPicPr>
          <p:nvPr/>
        </p:nvPicPr>
        <p:blipFill>
          <a:blip r:embed="rId17"/>
          <a:srcRect l="8824" r="8824"/>
          <a:stretch/>
        </p:blipFill>
        <p:spPr>
          <a:xfrm>
            <a:off x="205783" y="6829037"/>
            <a:ext cx="276642" cy="335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5052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4C4C4C"/>
      </a:hlink>
      <a:folHlink>
        <a:srgbClr val="800080"/>
      </a:folHlink>
    </a:clrScheme>
    <a:fontScheme name="Custom 81">
      <a:majorFont>
        <a:latin typeface="Rockwell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6539E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032c560-20c5-45db-8a2d-4a4e30c65462">
      <Terms xmlns="http://schemas.microsoft.com/office/infopath/2007/PartnerControls"/>
    </lcf76f155ced4ddcb4097134ff3c332f>
    <TaxCatchAll xmlns="07cebedc-249a-4d4f-8455-e264d9e5327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B0F6E12098844AB01E03560BEEA277" ma:contentTypeVersion="15" ma:contentTypeDescription="Create a new document." ma:contentTypeScope="" ma:versionID="b7dc832d4de31c963afd8f9e3492b980">
  <xsd:schema xmlns:xsd="http://www.w3.org/2001/XMLSchema" xmlns:xs="http://www.w3.org/2001/XMLSchema" xmlns:p="http://schemas.microsoft.com/office/2006/metadata/properties" xmlns:ns2="d032c560-20c5-45db-8a2d-4a4e30c65462" xmlns:ns3="07cebedc-249a-4d4f-8455-e264d9e5327d" targetNamespace="http://schemas.microsoft.com/office/2006/metadata/properties" ma:root="true" ma:fieldsID="fb9eb2428c691d314d466948f95eb8b5" ns2:_="" ns3:_="">
    <xsd:import namespace="d032c560-20c5-45db-8a2d-4a4e30c65462"/>
    <xsd:import namespace="07cebedc-249a-4d4f-8455-e264d9e5327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32c560-20c5-45db-8a2d-4a4e30c6546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9ae8bc6-2808-436b-8758-b62c6fb37c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cebedc-249a-4d4f-8455-e264d9e5327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bff9786-ecfe-42ef-8ee5-d5a2bae8041f}" ma:internalName="TaxCatchAll" ma:showField="CatchAllData" ma:web="07cebedc-249a-4d4f-8455-e264d9e5327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21E4914-23E0-4F21-8D2E-AE7053624DB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696DE50-6EA0-470F-83C1-92BD050311AA}">
  <ds:schemaRefs>
    <ds:schemaRef ds:uri="http://schemas.microsoft.com/office/infopath/2007/PartnerControls"/>
    <ds:schemaRef ds:uri="http://www.w3.org/XML/1998/namespace"/>
    <ds:schemaRef ds:uri="http://purl.org/dc/elements/1.1/"/>
    <ds:schemaRef ds:uri="http://schemas.microsoft.com/office/2006/documentManagement/types"/>
    <ds:schemaRef ds:uri="http://purl.org/dc/terms/"/>
    <ds:schemaRef ds:uri="http://purl.org/dc/dcmitype/"/>
    <ds:schemaRef ds:uri="http://schemas.microsoft.com/office/2006/metadata/properties"/>
    <ds:schemaRef ds:uri="http://schemas.openxmlformats.org/package/2006/metadata/core-properties"/>
    <ds:schemaRef ds:uri="7b1e4d0a-2ac3-47a8-86da-de6d4f972a03"/>
    <ds:schemaRef ds:uri="d7077447-3598-4916-b6b1-69ae6445436e"/>
    <ds:schemaRef ds:uri="d032c560-20c5-45db-8a2d-4a4e30c65462"/>
    <ds:schemaRef ds:uri="07cebedc-249a-4d4f-8455-e264d9e5327d"/>
  </ds:schemaRefs>
</ds:datastoreItem>
</file>

<file path=customXml/itemProps3.xml><?xml version="1.0" encoding="utf-8"?>
<ds:datastoreItem xmlns:ds="http://schemas.openxmlformats.org/officeDocument/2006/customXml" ds:itemID="{2384C26D-D87E-4F93-951A-F6417C78EE7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032c560-20c5-45db-8a2d-4a4e30c65462"/>
    <ds:schemaRef ds:uri="07cebedc-249a-4d4f-8455-e264d9e532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6</TotalTime>
  <Words>481</Words>
  <Application>Microsoft Office PowerPoint</Application>
  <PresentationFormat>Custom</PresentationFormat>
  <Paragraphs>140</Paragraphs>
  <Slides>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1_Office Them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ER CHOICES with</dc:title>
  <dc:creator>Brill, Amanda {PEP}</dc:creator>
  <cp:lastModifiedBy>Brill, Amanda {PEP}</cp:lastModifiedBy>
  <cp:revision>11</cp:revision>
  <dcterms:created xsi:type="dcterms:W3CDTF">2023-03-15T14:14:43Z</dcterms:created>
  <dcterms:modified xsi:type="dcterms:W3CDTF">2025-01-22T07:5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8-07-05T00:00:00Z</vt:filetime>
  </property>
  <property fmtid="{D5CDD505-2E9C-101B-9397-08002B2CF9AE}" pid="3" name="Creator">
    <vt:lpwstr>Adobe InDesign CC 13.1 (Macintosh)</vt:lpwstr>
  </property>
  <property fmtid="{D5CDD505-2E9C-101B-9397-08002B2CF9AE}" pid="4" name="LastSaved">
    <vt:filetime>2023-03-15T00:00:00Z</vt:filetime>
  </property>
  <property fmtid="{D5CDD505-2E9C-101B-9397-08002B2CF9AE}" pid="5" name="Producer">
    <vt:lpwstr>Adobe PDF Library 15.0</vt:lpwstr>
  </property>
  <property fmtid="{D5CDD505-2E9C-101B-9397-08002B2CF9AE}" pid="6" name="ContentTypeId">
    <vt:lpwstr>0x010100E6B0F6E12098844AB01E03560BEEA277</vt:lpwstr>
  </property>
  <property fmtid="{D5CDD505-2E9C-101B-9397-08002B2CF9AE}" pid="7" name="MediaServiceImageTags">
    <vt:lpwstr/>
  </property>
</Properties>
</file>